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  <p:sldMasterId id="2147483668" r:id="rId5"/>
  </p:sldMasterIdLst>
  <p:notesMasterIdLst>
    <p:notesMasterId r:id="rId11"/>
  </p:notesMasterIdLst>
  <p:sldIdLst>
    <p:sldId id="256" r:id="rId6"/>
    <p:sldId id="2145706433" r:id="rId7"/>
    <p:sldId id="2145706432" r:id="rId8"/>
    <p:sldId id="2145706434" r:id="rId9"/>
    <p:sldId id="286" r:id="rId10"/>
  </p:sldIdLst>
  <p:sldSz cx="12192000" cy="6858000"/>
  <p:notesSz cx="6794500" cy="9906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026" userDrawn="1">
          <p15:clr>
            <a:srgbClr val="A4A3A4"/>
          </p15:clr>
        </p15:guide>
        <p15:guide id="2" pos="529" userDrawn="1">
          <p15:clr>
            <a:srgbClr val="A4A3A4"/>
          </p15:clr>
        </p15:guide>
        <p15:guide id="3" orient="horz" pos="3777">
          <p15:clr>
            <a:srgbClr val="A4A3A4"/>
          </p15:clr>
        </p15:guide>
        <p15:guide id="4" pos="3839">
          <p15:clr>
            <a:srgbClr val="A4A3A4"/>
          </p15:clr>
        </p15:guide>
        <p15:guide id="5" orient="horz" pos="2162">
          <p15:clr>
            <a:srgbClr val="A4A3A4"/>
          </p15:clr>
        </p15:guide>
        <p15:guide id="6" pos="383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26" roundtripDataSignature="AMtx7mjZfmPaAZDOGffchqPWS8+vvHlam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4EA2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DAFE094-1C90-4371-B3EB-FCFBE00E7EAF}" v="7" dt="2024-11-20T08:58:51.4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339" autoAdjust="0"/>
    <p:restoredTop sz="65758" autoAdjust="0"/>
  </p:normalViewPr>
  <p:slideViewPr>
    <p:cSldViewPr snapToGrid="0">
      <p:cViewPr varScale="1">
        <p:scale>
          <a:sx n="49" d="100"/>
          <a:sy n="49" d="100"/>
        </p:scale>
        <p:origin x="932" y="28"/>
      </p:cViewPr>
      <p:guideLst>
        <p:guide orient="horz" pos="1026"/>
        <p:guide pos="529"/>
        <p:guide orient="horz" pos="3777"/>
        <p:guide pos="3839"/>
        <p:guide orient="horz" pos="2162"/>
        <p:guide pos="383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26" Type="http://customschemas.google.com/relationships/presentationmetadata" Target="metadata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tje Kügeler - con terra GmbH" userId="77ba3c97-1bee-481d-a6bc-358ea2738863" providerId="ADAL" clId="{DDAFE094-1C90-4371-B3EB-FCFBE00E7EAF}"/>
    <pc:docChg chg="undo custSel addSld delSld modSld">
      <pc:chgData name="Antje Kügeler - con terra GmbH" userId="77ba3c97-1bee-481d-a6bc-358ea2738863" providerId="ADAL" clId="{DDAFE094-1C90-4371-B3EB-FCFBE00E7EAF}" dt="2024-11-20T09:25:35.269" v="2455" actId="20577"/>
      <pc:docMkLst>
        <pc:docMk/>
      </pc:docMkLst>
      <pc:sldChg chg="modSp mod">
        <pc:chgData name="Antje Kügeler - con terra GmbH" userId="77ba3c97-1bee-481d-a6bc-358ea2738863" providerId="ADAL" clId="{DDAFE094-1C90-4371-B3EB-FCFBE00E7EAF}" dt="2024-11-20T08:31:35.398" v="2031" actId="6549"/>
        <pc:sldMkLst>
          <pc:docMk/>
          <pc:sldMk cId="0" sldId="256"/>
        </pc:sldMkLst>
        <pc:spChg chg="mod">
          <ac:chgData name="Antje Kügeler - con terra GmbH" userId="77ba3c97-1bee-481d-a6bc-358ea2738863" providerId="ADAL" clId="{DDAFE094-1C90-4371-B3EB-FCFBE00E7EAF}" dt="2024-11-20T08:31:35.398" v="2031" actId="6549"/>
          <ac:spMkLst>
            <pc:docMk/>
            <pc:sldMk cId="0" sldId="256"/>
            <ac:spMk id="122" creationId="{00000000-0000-0000-0000-000000000000}"/>
          </ac:spMkLst>
        </pc:spChg>
      </pc:sldChg>
      <pc:sldChg chg="modSp del mod">
        <pc:chgData name="Antje Kügeler - con terra GmbH" userId="77ba3c97-1bee-481d-a6bc-358ea2738863" providerId="ADAL" clId="{DDAFE094-1C90-4371-B3EB-FCFBE00E7EAF}" dt="2024-11-19T12:42:28.312" v="1745" actId="47"/>
        <pc:sldMkLst>
          <pc:docMk/>
          <pc:sldMk cId="4051915537" sldId="284"/>
        </pc:sldMkLst>
        <pc:spChg chg="mod">
          <ac:chgData name="Antje Kügeler - con terra GmbH" userId="77ba3c97-1bee-481d-a6bc-358ea2738863" providerId="ADAL" clId="{DDAFE094-1C90-4371-B3EB-FCFBE00E7EAF}" dt="2024-11-18T13:01:59.141" v="136" actId="20577"/>
          <ac:spMkLst>
            <pc:docMk/>
            <pc:sldMk cId="4051915537" sldId="284"/>
            <ac:spMk id="2" creationId="{00000000-0000-0000-0000-000000000000}"/>
          </ac:spMkLst>
        </pc:spChg>
        <pc:spChg chg="mod">
          <ac:chgData name="Antje Kügeler - con terra GmbH" userId="77ba3c97-1bee-481d-a6bc-358ea2738863" providerId="ADAL" clId="{DDAFE094-1C90-4371-B3EB-FCFBE00E7EAF}" dt="2024-11-18T12:56:12.516" v="32" actId="20577"/>
          <ac:spMkLst>
            <pc:docMk/>
            <pc:sldMk cId="4051915537" sldId="284"/>
            <ac:spMk id="3" creationId="{00000000-0000-0000-0000-000000000000}"/>
          </ac:spMkLst>
        </pc:spChg>
      </pc:sldChg>
      <pc:sldChg chg="modSp del mod">
        <pc:chgData name="Antje Kügeler - con terra GmbH" userId="77ba3c97-1bee-481d-a6bc-358ea2738863" providerId="ADAL" clId="{DDAFE094-1C90-4371-B3EB-FCFBE00E7EAF}" dt="2024-11-19T12:54:21.633" v="1971" actId="47"/>
        <pc:sldMkLst>
          <pc:docMk/>
          <pc:sldMk cId="141093305" sldId="285"/>
        </pc:sldMkLst>
        <pc:spChg chg="mod">
          <ac:chgData name="Antje Kügeler - con terra GmbH" userId="77ba3c97-1bee-481d-a6bc-358ea2738863" providerId="ADAL" clId="{DDAFE094-1C90-4371-B3EB-FCFBE00E7EAF}" dt="2024-11-19T12:47:22.263" v="1747" actId="21"/>
          <ac:spMkLst>
            <pc:docMk/>
            <pc:sldMk cId="141093305" sldId="285"/>
            <ac:spMk id="2" creationId="{00000000-0000-0000-0000-000000000000}"/>
          </ac:spMkLst>
        </pc:spChg>
        <pc:spChg chg="mod">
          <ac:chgData name="Antje Kügeler - con terra GmbH" userId="77ba3c97-1bee-481d-a6bc-358ea2738863" providerId="ADAL" clId="{DDAFE094-1C90-4371-B3EB-FCFBE00E7EAF}" dt="2024-11-19T12:42:07.951" v="1742"/>
          <ac:spMkLst>
            <pc:docMk/>
            <pc:sldMk cId="141093305" sldId="285"/>
            <ac:spMk id="3" creationId="{00000000-0000-0000-0000-000000000000}"/>
          </ac:spMkLst>
        </pc:spChg>
      </pc:sldChg>
      <pc:sldChg chg="modSp mod">
        <pc:chgData name="Antje Kügeler - con terra GmbH" userId="77ba3c97-1bee-481d-a6bc-358ea2738863" providerId="ADAL" clId="{DDAFE094-1C90-4371-B3EB-FCFBE00E7EAF}" dt="2024-11-20T09:06:06.511" v="2184" actId="20577"/>
        <pc:sldMkLst>
          <pc:docMk/>
          <pc:sldMk cId="820454432" sldId="286"/>
        </pc:sldMkLst>
        <pc:spChg chg="mod">
          <ac:chgData name="Antje Kügeler - con terra GmbH" userId="77ba3c97-1bee-481d-a6bc-358ea2738863" providerId="ADAL" clId="{DDAFE094-1C90-4371-B3EB-FCFBE00E7EAF}" dt="2024-11-20T09:06:06.511" v="2184" actId="20577"/>
          <ac:spMkLst>
            <pc:docMk/>
            <pc:sldMk cId="820454432" sldId="286"/>
            <ac:spMk id="2" creationId="{00000000-0000-0000-0000-000000000000}"/>
          </ac:spMkLst>
        </pc:spChg>
        <pc:spChg chg="mod">
          <ac:chgData name="Antje Kügeler - con terra GmbH" userId="77ba3c97-1bee-481d-a6bc-358ea2738863" providerId="ADAL" clId="{DDAFE094-1C90-4371-B3EB-FCFBE00E7EAF}" dt="2024-11-19T12:54:37.439" v="1972"/>
          <ac:spMkLst>
            <pc:docMk/>
            <pc:sldMk cId="820454432" sldId="286"/>
            <ac:spMk id="3" creationId="{00000000-0000-0000-0000-000000000000}"/>
          </ac:spMkLst>
        </pc:spChg>
      </pc:sldChg>
      <pc:sldChg chg="addSp modSp add del mod modAnim modNotesTx">
        <pc:chgData name="Antje Kügeler - con terra GmbH" userId="77ba3c97-1bee-481d-a6bc-358ea2738863" providerId="ADAL" clId="{DDAFE094-1C90-4371-B3EB-FCFBE00E7EAF}" dt="2024-11-20T09:25:35.269" v="2455" actId="20577"/>
        <pc:sldMkLst>
          <pc:docMk/>
          <pc:sldMk cId="2008784080" sldId="2145706432"/>
        </pc:sldMkLst>
        <pc:spChg chg="mod">
          <ac:chgData name="Antje Kügeler - con terra GmbH" userId="77ba3c97-1bee-481d-a6bc-358ea2738863" providerId="ADAL" clId="{DDAFE094-1C90-4371-B3EB-FCFBE00E7EAF}" dt="2024-11-18T13:04:35.163" v="285" actId="108"/>
          <ac:spMkLst>
            <pc:docMk/>
            <pc:sldMk cId="2008784080" sldId="2145706432"/>
            <ac:spMk id="2" creationId="{C4FA27E0-0B40-4C0C-F333-0AD5E0418050}"/>
          </ac:spMkLst>
        </pc:spChg>
        <pc:spChg chg="add mod">
          <ac:chgData name="Antje Kügeler - con terra GmbH" userId="77ba3c97-1bee-481d-a6bc-358ea2738863" providerId="ADAL" clId="{DDAFE094-1C90-4371-B3EB-FCFBE00E7EAF}" dt="2024-11-20T09:05:45.152" v="2181" actId="14100"/>
          <ac:spMkLst>
            <pc:docMk/>
            <pc:sldMk cId="2008784080" sldId="2145706432"/>
            <ac:spMk id="4" creationId="{F7F6EB7F-136D-ABD6-4F1E-445A4FF1BE3B}"/>
          </ac:spMkLst>
        </pc:spChg>
        <pc:spChg chg="mod">
          <ac:chgData name="Antje Kügeler - con terra GmbH" userId="77ba3c97-1bee-481d-a6bc-358ea2738863" providerId="ADAL" clId="{DDAFE094-1C90-4371-B3EB-FCFBE00E7EAF}" dt="2024-11-18T12:58:28.584" v="49" actId="14100"/>
          <ac:spMkLst>
            <pc:docMk/>
            <pc:sldMk cId="2008784080" sldId="2145706432"/>
            <ac:spMk id="11" creationId="{5F4B2405-5F9C-BFCB-9903-F68D54377413}"/>
          </ac:spMkLst>
        </pc:spChg>
        <pc:spChg chg="mod">
          <ac:chgData name="Antje Kügeler - con terra GmbH" userId="77ba3c97-1bee-481d-a6bc-358ea2738863" providerId="ADAL" clId="{DDAFE094-1C90-4371-B3EB-FCFBE00E7EAF}" dt="2024-11-18T12:59:42.950" v="60" actId="20577"/>
          <ac:spMkLst>
            <pc:docMk/>
            <pc:sldMk cId="2008784080" sldId="2145706432"/>
            <ac:spMk id="28" creationId="{281C6FDC-F048-3DA8-3BCA-38D9932E8789}"/>
          </ac:spMkLst>
        </pc:spChg>
      </pc:sldChg>
      <pc:sldChg chg="addSp modSp add mod modNotesTx">
        <pc:chgData name="Antje Kügeler - con terra GmbH" userId="77ba3c97-1bee-481d-a6bc-358ea2738863" providerId="ADAL" clId="{DDAFE094-1C90-4371-B3EB-FCFBE00E7EAF}" dt="2024-11-20T09:12:41.557" v="2185" actId="113"/>
        <pc:sldMkLst>
          <pc:docMk/>
          <pc:sldMk cId="2621400928" sldId="2145706433"/>
        </pc:sldMkLst>
        <pc:spChg chg="mod">
          <ac:chgData name="Antje Kügeler - con terra GmbH" userId="77ba3c97-1bee-481d-a6bc-358ea2738863" providerId="ADAL" clId="{DDAFE094-1C90-4371-B3EB-FCFBE00E7EAF}" dt="2024-11-20T08:32:07.018" v="2032" actId="947"/>
          <ac:spMkLst>
            <pc:docMk/>
            <pc:sldMk cId="2621400928" sldId="2145706433"/>
            <ac:spMk id="2" creationId="{5C331384-360C-3E4A-1E23-D92EA25D99E4}"/>
          </ac:spMkLst>
        </pc:spChg>
        <pc:spChg chg="add mod">
          <ac:chgData name="Antje Kügeler - con terra GmbH" userId="77ba3c97-1bee-481d-a6bc-358ea2738863" providerId="ADAL" clId="{DDAFE094-1C90-4371-B3EB-FCFBE00E7EAF}" dt="2024-11-19T12:20:19.578" v="1153" actId="1076"/>
          <ac:spMkLst>
            <pc:docMk/>
            <pc:sldMk cId="2621400928" sldId="2145706433"/>
            <ac:spMk id="5" creationId="{C8BCD57D-C92B-3009-BB70-F68323844E6D}"/>
          </ac:spMkLst>
        </pc:spChg>
      </pc:sldChg>
      <pc:sldChg chg="addSp modSp add mod modNotesTx">
        <pc:chgData name="Antje Kügeler - con terra GmbH" userId="77ba3c97-1bee-481d-a6bc-358ea2738863" providerId="ADAL" clId="{DDAFE094-1C90-4371-B3EB-FCFBE00E7EAF}" dt="2024-11-20T09:00:33.223" v="2177" actId="113"/>
        <pc:sldMkLst>
          <pc:docMk/>
          <pc:sldMk cId="3547937062" sldId="2145706434"/>
        </pc:sldMkLst>
        <pc:spChg chg="mod">
          <ac:chgData name="Antje Kügeler - con terra GmbH" userId="77ba3c97-1bee-481d-a6bc-358ea2738863" providerId="ADAL" clId="{DDAFE094-1C90-4371-B3EB-FCFBE00E7EAF}" dt="2024-11-19T12:53:07.510" v="1970" actId="20577"/>
          <ac:spMkLst>
            <pc:docMk/>
            <pc:sldMk cId="3547937062" sldId="2145706434"/>
            <ac:spMk id="2" creationId="{BA44365F-8DEB-DA6B-88A7-16C21B7B0543}"/>
          </ac:spMkLst>
        </pc:spChg>
        <pc:spChg chg="mod">
          <ac:chgData name="Antje Kügeler - con terra GmbH" userId="77ba3c97-1bee-481d-a6bc-358ea2738863" providerId="ADAL" clId="{DDAFE094-1C90-4371-B3EB-FCFBE00E7EAF}" dt="2024-11-18T13:23:46.023" v="858"/>
          <ac:spMkLst>
            <pc:docMk/>
            <pc:sldMk cId="3547937062" sldId="2145706434"/>
            <ac:spMk id="3" creationId="{232B7B19-C14E-6309-E126-500B992A6425}"/>
          </ac:spMkLst>
        </pc:spChg>
        <pc:picChg chg="add mod">
          <ac:chgData name="Antje Kügeler - con terra GmbH" userId="77ba3c97-1bee-481d-a6bc-358ea2738863" providerId="ADAL" clId="{DDAFE094-1C90-4371-B3EB-FCFBE00E7EAF}" dt="2024-11-19T12:51:48.173" v="1876" actId="1076"/>
          <ac:picMkLst>
            <pc:docMk/>
            <pc:sldMk cId="3547937062" sldId="2145706434"/>
            <ac:picMk id="5" creationId="{16B27F92-1D14-F200-49E4-1FC7F29C0AB9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44283" cy="497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48645" y="0"/>
            <a:ext cx="2944283" cy="497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425450" y="1238250"/>
            <a:ext cx="5943600" cy="33432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79450" y="4767262"/>
            <a:ext cx="5435600" cy="3900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9408981"/>
            <a:ext cx="2944283" cy="4970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E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r.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1:notes"/>
          <p:cNvSpPr txBox="1">
            <a:spLocks noGrp="1"/>
          </p:cNvSpPr>
          <p:nvPr>
            <p:ph type="body" idx="1"/>
          </p:nvPr>
        </p:nvSpPr>
        <p:spPr>
          <a:xfrm>
            <a:off x="679450" y="4767262"/>
            <a:ext cx="5435600" cy="390048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" name="Google Shape;118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en-GB" b="0" dirty="0">
                <a:solidFill>
                  <a:schemeClr val="bg2"/>
                </a:solidFill>
              </a:rPr>
              <a:t>We currently harvest 42 geocatalogues</a:t>
            </a:r>
          </a:p>
          <a:p>
            <a:endParaRPr lang="de-DE" dirty="0"/>
          </a:p>
          <a:p>
            <a:pPr marL="7620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GB" sz="1400" b="1" dirty="0">
                <a:solidFill>
                  <a:srgbClr val="0070C0"/>
                </a:solidFill>
              </a:rPr>
              <a:t>Testing focu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b="1" dirty="0">
                <a:solidFill>
                  <a:schemeClr val="bg1">
                    <a:lumMod val="50000"/>
                  </a:schemeClr>
                </a:solidFill>
              </a:rPr>
              <a:t>Briefly contextualise the situation in your Member State / Country… (e.g. catalogues designated for reporting HVDs, DCAT version used by the National open data catalogue, etc.)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b="1" dirty="0">
                <a:solidFill>
                  <a:schemeClr val="bg1">
                    <a:lumMod val="50000"/>
                  </a:schemeClr>
                </a:solidFill>
              </a:rPr>
              <a:t>Identify the scope you selected for your testing activities (e.g. </a:t>
            </a:r>
            <a:r>
              <a:rPr lang="en-GB" b="1" dirty="0" err="1">
                <a:solidFill>
                  <a:schemeClr val="bg1">
                    <a:lumMod val="50000"/>
                  </a:schemeClr>
                </a:solidFill>
              </a:rPr>
              <a:t>GeoDCAT</a:t>
            </a:r>
            <a:r>
              <a:rPr lang="en-GB" b="1" dirty="0">
                <a:solidFill>
                  <a:schemeClr val="bg1">
                    <a:lumMod val="50000"/>
                  </a:schemeClr>
                </a:solidFill>
              </a:rPr>
              <a:t>-AP Specification and/or XSLT Transformation)…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b="1" dirty="0">
                <a:solidFill>
                  <a:schemeClr val="bg1">
                    <a:lumMod val="50000"/>
                  </a:schemeClr>
                </a:solidFill>
              </a:rPr>
              <a:t>Enumerate the typologies and volume / amount of ISO metadata selected for your tests, tools available for this purpose, etc..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E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lang="es-E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815447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harves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geocatalogues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taly</a:t>
            </a:r>
            <a:r>
              <a:rPr lang="de-DE" dirty="0"/>
              <a:t>, Danmark, </a:t>
            </a:r>
            <a:r>
              <a:rPr lang="de-DE" dirty="0" err="1"/>
              <a:t>Netherlands</a:t>
            </a:r>
            <a:r>
              <a:rPr lang="de-DE" dirty="0"/>
              <a:t>, 3 regional geocatalogues </a:t>
            </a:r>
            <a:r>
              <a:rPr lang="de-DE" dirty="0" err="1"/>
              <a:t>from</a:t>
            </a:r>
            <a:r>
              <a:rPr lang="de-DE" dirty="0"/>
              <a:t> Spain, </a:t>
            </a:r>
            <a:r>
              <a:rPr lang="de-DE"/>
              <a:t>Slovakia</a:t>
            </a:r>
            <a:endParaRPr lang="de-DE" dirty="0"/>
          </a:p>
          <a:p>
            <a:r>
              <a:rPr lang="de-DE" dirty="0" err="1"/>
              <a:t>Belgium</a:t>
            </a:r>
            <a:r>
              <a:rPr lang="de-DE" dirty="0"/>
              <a:t>, </a:t>
            </a:r>
            <a:r>
              <a:rPr lang="de-DE" dirty="0" err="1"/>
              <a:t>Finland</a:t>
            </a:r>
            <a:r>
              <a:rPr lang="de-DE" dirty="0"/>
              <a:t> – Open Data </a:t>
            </a:r>
            <a:r>
              <a:rPr lang="de-DE" dirty="0" err="1"/>
              <a:t>Catalogues</a:t>
            </a:r>
            <a:r>
              <a:rPr lang="de-DE" dirty="0"/>
              <a:t> (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includ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etadata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eoportals</a:t>
            </a:r>
            <a:r>
              <a:rPr lang="de-DE" dirty="0"/>
              <a:t>)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 err="1"/>
              <a:t>Harvest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etadata</a:t>
            </a:r>
            <a:r>
              <a:rPr lang="de-DE" dirty="0"/>
              <a:t> via CSW </a:t>
            </a:r>
            <a:r>
              <a:rPr lang="de-DE" dirty="0" err="1"/>
              <a:t>endpoints</a:t>
            </a:r>
            <a:r>
              <a:rPr lang="de-DE" dirty="0"/>
              <a:t> (</a:t>
            </a:r>
            <a:r>
              <a:rPr lang="de-DE" dirty="0" err="1"/>
              <a:t>well</a:t>
            </a:r>
            <a:r>
              <a:rPr lang="de-DE" dirty="0"/>
              <a:t> </a:t>
            </a:r>
            <a:r>
              <a:rPr lang="de-DE" dirty="0" err="1"/>
              <a:t>established</a:t>
            </a:r>
            <a:r>
              <a:rPr lang="de-DE" dirty="0"/>
              <a:t> </a:t>
            </a:r>
            <a:r>
              <a:rPr lang="de-DE" dirty="0" err="1"/>
              <a:t>standar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OGC, also </a:t>
            </a:r>
            <a:r>
              <a:rPr lang="en-US" dirty="0"/>
              <a:t>used for INSPIRE Discovery Services</a:t>
            </a:r>
            <a:r>
              <a:rPr lang="de-DE" dirty="0"/>
              <a:t>)</a:t>
            </a:r>
          </a:p>
          <a:p>
            <a:r>
              <a:rPr lang="en-US" dirty="0"/>
              <a:t>dataset and service metadata (ISO 19139 – standard for geo-spatial metadata, also used by INSPIRE)</a:t>
            </a:r>
          </a:p>
          <a:p>
            <a:r>
              <a:rPr lang="de-DE" dirty="0"/>
              <a:t>Mapping ISO 19139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eoDCAT</a:t>
            </a:r>
            <a:r>
              <a:rPr lang="de-DE" dirty="0"/>
              <a:t>-AP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A71510-3E4A-0543-955F-9FDE5684AE97}" type="slidenum">
              <a:rPr kumimoji="0" lang="en-L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L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6544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en-US" sz="3600" b="0" dirty="0">
                <a:solidFill>
                  <a:schemeClr val="bg1">
                    <a:lumMod val="50000"/>
                  </a:schemeClr>
                </a:solidFill>
              </a:rPr>
              <a:t>Christian from Denmark talked about their concern to have false positives 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sz="3600" b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3600" b="0" dirty="0">
                <a:solidFill>
                  <a:schemeClr val="bg1">
                    <a:lumMod val="50000"/>
                  </a:schemeClr>
                </a:solidFill>
              </a:rPr>
              <a:t>Goal of this slide: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3600" b="0" dirty="0">
                <a:solidFill>
                  <a:schemeClr val="bg1">
                    <a:lumMod val="50000"/>
                  </a:schemeClr>
                </a:solidFill>
              </a:rPr>
              <a:t>Briefly describe the analysis performed…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3600" b="0" dirty="0">
                <a:solidFill>
                  <a:schemeClr val="bg1">
                    <a:lumMod val="50000"/>
                  </a:schemeClr>
                </a:solidFill>
              </a:rPr>
              <a:t>Explain how you plan to execute, or already executed, the XSLT transformation…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3600" b="0" dirty="0">
                <a:solidFill>
                  <a:schemeClr val="bg1">
                    <a:lumMod val="50000"/>
                  </a:schemeClr>
                </a:solidFill>
              </a:rPr>
              <a:t>Any good practices to be highlighted (e.g. specific tagging of HVDs), results or findings identified until the date…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3600" b="0" dirty="0">
                <a:solidFill>
                  <a:schemeClr val="bg1">
                    <a:lumMod val="50000"/>
                  </a:schemeClr>
                </a:solidFill>
              </a:rPr>
              <a:t>Preliminary issues encountered…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sz="36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E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lang="es-E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441107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E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lang="es-E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44223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12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8"/>
          <p:cNvSpPr/>
          <p:nvPr/>
        </p:nvSpPr>
        <p:spPr>
          <a:xfrm>
            <a:off x="0" y="1073101"/>
            <a:ext cx="12192000" cy="5784900"/>
          </a:xfrm>
          <a:prstGeom prst="rect">
            <a:avLst/>
          </a:prstGeom>
          <a:gradFill>
            <a:gsLst>
              <a:gs pos="0">
                <a:srgbClr val="0D6CB4"/>
              </a:gs>
              <a:gs pos="47000">
                <a:srgbClr val="0D6CB4"/>
              </a:gs>
              <a:gs pos="77000">
                <a:srgbClr val="227DC1"/>
              </a:gs>
              <a:gs pos="100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Google Shape;14;p8"/>
          <p:cNvSpPr txBox="1">
            <a:spLocks noGrp="1"/>
          </p:cNvSpPr>
          <p:nvPr>
            <p:ph type="ctrTitle"/>
          </p:nvPr>
        </p:nvSpPr>
        <p:spPr>
          <a:xfrm>
            <a:off x="1071349" y="1992572"/>
            <a:ext cx="10290265" cy="2149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Arial"/>
              <a:buNone/>
              <a:defRPr sz="6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15" name="Google Shape;15;p8"/>
          <p:cNvCxnSpPr/>
          <p:nvPr/>
        </p:nvCxnSpPr>
        <p:spPr>
          <a:xfrm>
            <a:off x="838200" y="1978925"/>
            <a:ext cx="0" cy="4879075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" name="Google Shape;16;p8"/>
          <p:cNvSpPr txBox="1">
            <a:spLocks noGrp="1"/>
          </p:cNvSpPr>
          <p:nvPr>
            <p:ph type="subTitle" idx="1"/>
          </p:nvPr>
        </p:nvSpPr>
        <p:spPr>
          <a:xfrm>
            <a:off x="1071350" y="4418049"/>
            <a:ext cx="10290265" cy="897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" name="Google Shape;17;p8"/>
          <p:cNvSpPr txBox="1">
            <a:spLocks noGrp="1"/>
          </p:cNvSpPr>
          <p:nvPr>
            <p:ph type="body" idx="2"/>
          </p:nvPr>
        </p:nvSpPr>
        <p:spPr>
          <a:xfrm>
            <a:off x="6094413" y="5391726"/>
            <a:ext cx="5267202" cy="8774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200"/>
              <a:buFont typeface="Arial"/>
              <a:buNone/>
              <a:defRPr sz="2200" b="0" i="1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8" name="Google Shape;18;p8" descr="Footer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747221" y="6390001"/>
            <a:ext cx="697559" cy="467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Google Shape;19;p8" descr="EC-JRC-logo_vertical_EN_pos_transparent-background.png"/>
          <p:cNvPicPr preferRelativeResize="0"/>
          <p:nvPr/>
        </p:nvPicPr>
        <p:blipFill rotWithShape="1">
          <a:blip r:embed="rId3">
            <a:alphaModFix/>
          </a:blip>
          <a:srcRect l="3733" t="5039" r="4158" b="4382"/>
          <a:stretch/>
        </p:blipFill>
        <p:spPr>
          <a:xfrm>
            <a:off x="5373779" y="264907"/>
            <a:ext cx="1674947" cy="1152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">
  <p:cSld name="Quote Slide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20"/>
          <p:cNvSpPr>
            <a:spLocks noGrp="1"/>
          </p:cNvSpPr>
          <p:nvPr>
            <p:ph type="pic" idx="2"/>
          </p:nvPr>
        </p:nvSpPr>
        <p:spPr>
          <a:xfrm>
            <a:off x="-59635" y="-59635"/>
            <a:ext cx="6155635" cy="6983896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8" name="Google Shape;78;p20"/>
          <p:cNvSpPr/>
          <p:nvPr/>
        </p:nvSpPr>
        <p:spPr>
          <a:xfrm>
            <a:off x="3214048" y="1992573"/>
            <a:ext cx="8550322" cy="361665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9" name="Google Shape;79;p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127615" y="743802"/>
            <a:ext cx="544923" cy="544923"/>
          </a:xfrm>
          <a:prstGeom prst="rect">
            <a:avLst/>
          </a:prstGeom>
          <a:noFill/>
          <a:ln>
            <a:noFill/>
          </a:ln>
        </p:spPr>
      </p:pic>
      <p:sp>
        <p:nvSpPr>
          <p:cNvPr id="80" name="Google Shape;80;p20"/>
          <p:cNvSpPr txBox="1">
            <a:spLocks noGrp="1"/>
          </p:cNvSpPr>
          <p:nvPr>
            <p:ph type="body" idx="1"/>
          </p:nvPr>
        </p:nvSpPr>
        <p:spPr>
          <a:xfrm>
            <a:off x="3214048" y="1992572"/>
            <a:ext cx="8010798" cy="361665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0" tIns="360000" rIns="360000" bIns="360000" anchor="ctr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400"/>
              <a:buFont typeface="Arial"/>
              <a:buNone/>
              <a:defRPr sz="2400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and Content (half page)">
  <p:cSld name="Picture and Content (half page)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21"/>
          <p:cNvSpPr txBox="1">
            <a:spLocks noGrp="1"/>
          </p:cNvSpPr>
          <p:nvPr>
            <p:ph type="body" idx="1"/>
          </p:nvPr>
        </p:nvSpPr>
        <p:spPr>
          <a:xfrm>
            <a:off x="6662614" y="1825625"/>
            <a:ext cx="4583519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" name="Google Shape;83;p21"/>
          <p:cNvSpPr txBox="1">
            <a:spLocks noGrp="1"/>
          </p:cNvSpPr>
          <p:nvPr>
            <p:ph type="sldNum" idx="12"/>
          </p:nvPr>
        </p:nvSpPr>
        <p:spPr>
          <a:xfrm>
            <a:off x="838200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ES"/>
              <a:t>‹Nr.›</a:t>
            </a:fld>
            <a:endParaRPr/>
          </a:p>
        </p:txBody>
      </p:sp>
      <p:sp>
        <p:nvSpPr>
          <p:cNvPr id="84" name="Google Shape;84;p21"/>
          <p:cNvSpPr txBox="1">
            <a:spLocks noGrp="1"/>
          </p:cNvSpPr>
          <p:nvPr>
            <p:ph type="title"/>
          </p:nvPr>
        </p:nvSpPr>
        <p:spPr>
          <a:xfrm>
            <a:off x="6662614" y="586765"/>
            <a:ext cx="4581771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85" name="Google Shape;85;p21"/>
          <p:cNvSpPr>
            <a:spLocks noGrp="1"/>
          </p:cNvSpPr>
          <p:nvPr>
            <p:ph type="pic" idx="2"/>
          </p:nvPr>
        </p:nvSpPr>
        <p:spPr>
          <a:xfrm>
            <a:off x="-46383" y="-46383"/>
            <a:ext cx="6142383" cy="6964017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rizontal Picture and Content">
  <p:cSld name="Horizontal Picture and Content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22"/>
          <p:cNvSpPr>
            <a:spLocks noGrp="1"/>
          </p:cNvSpPr>
          <p:nvPr>
            <p:ph type="pic" idx="2"/>
          </p:nvPr>
        </p:nvSpPr>
        <p:spPr>
          <a:xfrm>
            <a:off x="-63280" y="-62165"/>
            <a:ext cx="12318560" cy="3468939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8" name="Google Shape;88;p22"/>
          <p:cNvSpPr txBox="1">
            <a:spLocks noGrp="1"/>
          </p:cNvSpPr>
          <p:nvPr>
            <p:ph type="title"/>
          </p:nvPr>
        </p:nvSpPr>
        <p:spPr>
          <a:xfrm>
            <a:off x="957385" y="2818576"/>
            <a:ext cx="10287000" cy="62837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89" name="Google Shape;89;p22"/>
          <p:cNvSpPr txBox="1">
            <a:spLocks noGrp="1"/>
          </p:cNvSpPr>
          <p:nvPr>
            <p:ph type="body" idx="1"/>
          </p:nvPr>
        </p:nvSpPr>
        <p:spPr>
          <a:xfrm>
            <a:off x="957385" y="3630613"/>
            <a:ext cx="10287000" cy="2365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images">
  <p:cSld name="3 images"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23"/>
          <p:cNvSpPr>
            <a:spLocks noGrp="1"/>
          </p:cNvSpPr>
          <p:nvPr>
            <p:ph type="pic" idx="2"/>
          </p:nvPr>
        </p:nvSpPr>
        <p:spPr>
          <a:xfrm>
            <a:off x="840157" y="2284667"/>
            <a:ext cx="3347997" cy="2090737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92" name="Google Shape;92;p23"/>
          <p:cNvSpPr>
            <a:spLocks noGrp="1"/>
          </p:cNvSpPr>
          <p:nvPr>
            <p:ph type="pic" idx="3"/>
          </p:nvPr>
        </p:nvSpPr>
        <p:spPr>
          <a:xfrm>
            <a:off x="7940525" y="2284668"/>
            <a:ext cx="3419998" cy="2090737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93" name="Google Shape;93;p23"/>
          <p:cNvSpPr>
            <a:spLocks noGrp="1"/>
          </p:cNvSpPr>
          <p:nvPr>
            <p:ph type="pic" idx="4"/>
          </p:nvPr>
        </p:nvSpPr>
        <p:spPr>
          <a:xfrm>
            <a:off x="4390340" y="2284667"/>
            <a:ext cx="3347998" cy="2090737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94" name="Google Shape;94;p23"/>
          <p:cNvSpPr txBox="1">
            <a:spLocks noGrp="1"/>
          </p:cNvSpPr>
          <p:nvPr>
            <p:ph type="body" idx="1"/>
          </p:nvPr>
        </p:nvSpPr>
        <p:spPr>
          <a:xfrm>
            <a:off x="1179376" y="4038684"/>
            <a:ext cx="2669558" cy="152423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marR="0" lvl="0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5" name="Google Shape;95;p23"/>
          <p:cNvSpPr txBox="1">
            <a:spLocks noGrp="1"/>
          </p:cNvSpPr>
          <p:nvPr>
            <p:ph type="body" idx="5"/>
          </p:nvPr>
        </p:nvSpPr>
        <p:spPr>
          <a:xfrm>
            <a:off x="4729560" y="4041944"/>
            <a:ext cx="2669558" cy="152423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marR="0" lvl="0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" name="Google Shape;96;p23"/>
          <p:cNvSpPr txBox="1">
            <a:spLocks noGrp="1"/>
          </p:cNvSpPr>
          <p:nvPr>
            <p:ph type="body" idx="6"/>
          </p:nvPr>
        </p:nvSpPr>
        <p:spPr>
          <a:xfrm>
            <a:off x="8315745" y="4037437"/>
            <a:ext cx="2669558" cy="152423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marR="0" lvl="0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7" name="Google Shape;97;p23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98" name="Google Shape;98;p23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images">
  <p:cSld name="4 images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24"/>
          <p:cNvSpPr>
            <a:spLocks noGrp="1"/>
          </p:cNvSpPr>
          <p:nvPr>
            <p:ph type="pic" idx="2"/>
          </p:nvPr>
        </p:nvSpPr>
        <p:spPr>
          <a:xfrm>
            <a:off x="3489177" y="2159957"/>
            <a:ext cx="2518900" cy="172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01" name="Google Shape;101;p24"/>
          <p:cNvSpPr>
            <a:spLocks noGrp="1"/>
          </p:cNvSpPr>
          <p:nvPr>
            <p:ph type="pic" idx="3"/>
          </p:nvPr>
        </p:nvSpPr>
        <p:spPr>
          <a:xfrm>
            <a:off x="3489175" y="4076343"/>
            <a:ext cx="2520000" cy="172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02" name="Google Shape;102;p24"/>
          <p:cNvSpPr>
            <a:spLocks noGrp="1"/>
          </p:cNvSpPr>
          <p:nvPr>
            <p:ph type="pic" idx="4"/>
          </p:nvPr>
        </p:nvSpPr>
        <p:spPr>
          <a:xfrm>
            <a:off x="6197546" y="2159956"/>
            <a:ext cx="2520000" cy="172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03" name="Google Shape;103;p24"/>
          <p:cNvSpPr txBox="1">
            <a:spLocks noGrp="1"/>
          </p:cNvSpPr>
          <p:nvPr>
            <p:ph type="body" idx="1"/>
          </p:nvPr>
        </p:nvSpPr>
        <p:spPr>
          <a:xfrm>
            <a:off x="8887605" y="4076342"/>
            <a:ext cx="2483779" cy="17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" name="Google Shape;104;p24"/>
          <p:cNvSpPr txBox="1">
            <a:spLocks noGrp="1"/>
          </p:cNvSpPr>
          <p:nvPr>
            <p:ph type="body" idx="5"/>
          </p:nvPr>
        </p:nvSpPr>
        <p:spPr>
          <a:xfrm>
            <a:off x="957385" y="2159957"/>
            <a:ext cx="2334846" cy="17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marR="0" lvl="0" indent="-2286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" name="Google Shape;105;p24"/>
          <p:cNvSpPr>
            <a:spLocks noGrp="1"/>
          </p:cNvSpPr>
          <p:nvPr>
            <p:ph type="pic" idx="6"/>
          </p:nvPr>
        </p:nvSpPr>
        <p:spPr>
          <a:xfrm>
            <a:off x="6197548" y="4076342"/>
            <a:ext cx="2520000" cy="1728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06" name="Google Shape;106;p24"/>
          <p:cNvSpPr txBox="1">
            <a:spLocks noGrp="1"/>
          </p:cNvSpPr>
          <p:nvPr>
            <p:ph type="body" idx="7"/>
          </p:nvPr>
        </p:nvSpPr>
        <p:spPr>
          <a:xfrm>
            <a:off x="957385" y="4076343"/>
            <a:ext cx="2334846" cy="17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marR="0" lvl="0" indent="-22860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7" name="Google Shape;107;p24"/>
          <p:cNvSpPr txBox="1">
            <a:spLocks noGrp="1"/>
          </p:cNvSpPr>
          <p:nvPr>
            <p:ph type="body" idx="8"/>
          </p:nvPr>
        </p:nvSpPr>
        <p:spPr>
          <a:xfrm>
            <a:off x="8919308" y="2159956"/>
            <a:ext cx="2452077" cy="17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8" name="Google Shape;108;p24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109" name="Google Shape;109;p24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st slide (option 2)">
  <p:cSld name="Last slide (option 2)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26"/>
          <p:cNvSpPr/>
          <p:nvPr/>
        </p:nvSpPr>
        <p:spPr>
          <a:xfrm>
            <a:off x="0" y="0"/>
            <a:ext cx="12192000" cy="343217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3" name="Google Shape;113;p26"/>
          <p:cNvCxnSpPr/>
          <p:nvPr/>
        </p:nvCxnSpPr>
        <p:spPr>
          <a:xfrm>
            <a:off x="838200" y="0"/>
            <a:ext cx="0" cy="2362711"/>
          </a:xfrm>
          <a:prstGeom prst="straightConnector1">
            <a:avLst/>
          </a:prstGeom>
          <a:noFill/>
          <a:ln w="28575" cap="flat" cmpd="sng">
            <a:solidFill>
              <a:srgbClr val="2174B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" name="Google Shape;114;p26"/>
          <p:cNvSpPr txBox="1">
            <a:spLocks noGrp="1"/>
          </p:cNvSpPr>
          <p:nvPr>
            <p:ph type="ctrTitle"/>
          </p:nvPr>
        </p:nvSpPr>
        <p:spPr>
          <a:xfrm>
            <a:off x="1077013" y="1122363"/>
            <a:ext cx="10020968" cy="1240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174B0"/>
              </a:buClr>
              <a:buSzPts val="6000"/>
              <a:buFont typeface="Arial"/>
              <a:buNone/>
              <a:defRPr sz="6000" b="0" i="0" u="none" strike="noStrike" cap="none">
                <a:solidFill>
                  <a:srgbClr val="2174B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5" name="Google Shape;115;p26"/>
          <p:cNvSpPr txBox="1">
            <a:spLocks noGrp="1"/>
          </p:cNvSpPr>
          <p:nvPr>
            <p:ph type="subTitle" idx="1"/>
          </p:nvPr>
        </p:nvSpPr>
        <p:spPr>
          <a:xfrm>
            <a:off x="1084385" y="3855676"/>
            <a:ext cx="10003692" cy="1925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F2FEFD3-49B4-4742-992C-3D84B447ECDA}"/>
              </a:ext>
            </a:extLst>
          </p:cNvPr>
          <p:cNvSpPr txBox="1">
            <a:spLocks/>
          </p:cNvSpPr>
          <p:nvPr userDrawn="1"/>
        </p:nvSpPr>
        <p:spPr>
          <a:xfrm>
            <a:off x="1204332" y="1226866"/>
            <a:ext cx="9463668" cy="2387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LU" sz="6000" b="1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7D083E0-E309-254B-866A-5DEEFD71A882}"/>
              </a:ext>
            </a:extLst>
          </p:cNvPr>
          <p:cNvSpPr txBox="1">
            <a:spLocks/>
          </p:cNvSpPr>
          <p:nvPr userDrawn="1"/>
        </p:nvSpPr>
        <p:spPr>
          <a:xfrm>
            <a:off x="1204332" y="3193585"/>
            <a:ext cx="9463668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LU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grpSp>
        <p:nvGrpSpPr>
          <p:cNvPr id="9" name="Graphic 5">
            <a:extLst>
              <a:ext uri="{FF2B5EF4-FFF2-40B4-BE49-F238E27FC236}">
                <a16:creationId xmlns:a16="http://schemas.microsoft.com/office/drawing/2014/main" id="{0F860ACE-75CF-C04A-B5D7-0D07C627D8F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40443" y="5165962"/>
            <a:ext cx="1386645" cy="930343"/>
            <a:chOff x="9740512" y="4859565"/>
            <a:chExt cx="1187572" cy="796785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AF7F851-0A1B-8944-8780-11CC6EF0AD27}"/>
                </a:ext>
              </a:extLst>
            </p:cNvPr>
            <p:cNvSpPr/>
            <p:nvPr/>
          </p:nvSpPr>
          <p:spPr>
            <a:xfrm>
              <a:off x="9740512" y="4859565"/>
              <a:ext cx="1187572" cy="796785"/>
            </a:xfrm>
            <a:custGeom>
              <a:avLst/>
              <a:gdLst>
                <a:gd name="connsiteX0" fmla="*/ 0 w 1187572"/>
                <a:gd name="connsiteY0" fmla="*/ 0 h 796785"/>
                <a:gd name="connsiteX1" fmla="*/ 1187573 w 1187572"/>
                <a:gd name="connsiteY1" fmla="*/ 0 h 796785"/>
                <a:gd name="connsiteX2" fmla="*/ 1187573 w 1187572"/>
                <a:gd name="connsiteY2" fmla="*/ 796785 h 796785"/>
                <a:gd name="connsiteX3" fmla="*/ 0 w 1187572"/>
                <a:gd name="connsiteY3" fmla="*/ 796785 h 796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7572" h="796785">
                  <a:moveTo>
                    <a:pt x="0" y="0"/>
                  </a:moveTo>
                  <a:lnTo>
                    <a:pt x="1187573" y="0"/>
                  </a:lnTo>
                  <a:lnTo>
                    <a:pt x="1187573" y="796785"/>
                  </a:lnTo>
                  <a:lnTo>
                    <a:pt x="0" y="796785"/>
                  </a:lnTo>
                  <a:close/>
                </a:path>
              </a:pathLst>
            </a:custGeom>
            <a:solidFill>
              <a:srgbClr val="00309D"/>
            </a:solidFill>
            <a:ln w="15463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FDD638F0-C088-2C40-A45F-038D2B6712AA}"/>
                </a:ext>
              </a:extLst>
            </p:cNvPr>
            <p:cNvSpPr/>
            <p:nvPr/>
          </p:nvSpPr>
          <p:spPr>
            <a:xfrm>
              <a:off x="10287285" y="4950456"/>
              <a:ext cx="94335" cy="90110"/>
            </a:xfrm>
            <a:custGeom>
              <a:avLst/>
              <a:gdLst>
                <a:gd name="connsiteX0" fmla="*/ 18308 w 94335"/>
                <a:gd name="connsiteY0" fmla="*/ 90111 h 90110"/>
                <a:gd name="connsiteX1" fmla="*/ 47168 w 94335"/>
                <a:gd name="connsiteY1" fmla="*/ 68871 h 90110"/>
                <a:gd name="connsiteX2" fmla="*/ 76027 w 94335"/>
                <a:gd name="connsiteY2" fmla="*/ 90111 h 90110"/>
                <a:gd name="connsiteX3" fmla="*/ 65011 w 94335"/>
                <a:gd name="connsiteY3" fmla="*/ 55753 h 90110"/>
                <a:gd name="connsiteX4" fmla="*/ 94336 w 94335"/>
                <a:gd name="connsiteY4" fmla="*/ 34670 h 90110"/>
                <a:gd name="connsiteX5" fmla="*/ 58184 w 94335"/>
                <a:gd name="connsiteY5" fmla="*/ 34670 h 90110"/>
                <a:gd name="connsiteX6" fmla="*/ 47168 w 94335"/>
                <a:gd name="connsiteY6" fmla="*/ 0 h 90110"/>
                <a:gd name="connsiteX7" fmla="*/ 35996 w 94335"/>
                <a:gd name="connsiteY7" fmla="*/ 34670 h 90110"/>
                <a:gd name="connsiteX8" fmla="*/ 0 w 94335"/>
                <a:gd name="connsiteY8" fmla="*/ 34670 h 90110"/>
                <a:gd name="connsiteX9" fmla="*/ 29325 w 94335"/>
                <a:gd name="connsiteY9" fmla="*/ 55753 h 90110"/>
                <a:gd name="connsiteX10" fmla="*/ 18308 w 94335"/>
                <a:gd name="connsiteY10" fmla="*/ 90111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90110">
                  <a:moveTo>
                    <a:pt x="18308" y="90111"/>
                  </a:moveTo>
                  <a:lnTo>
                    <a:pt x="47168" y="68871"/>
                  </a:lnTo>
                  <a:lnTo>
                    <a:pt x="76027" y="90111"/>
                  </a:lnTo>
                  <a:lnTo>
                    <a:pt x="65011" y="55753"/>
                  </a:lnTo>
                  <a:lnTo>
                    <a:pt x="94336" y="34670"/>
                  </a:lnTo>
                  <a:lnTo>
                    <a:pt x="58184" y="34670"/>
                  </a:lnTo>
                  <a:lnTo>
                    <a:pt x="47168" y="0"/>
                  </a:lnTo>
                  <a:lnTo>
                    <a:pt x="35996" y="34670"/>
                  </a:lnTo>
                  <a:lnTo>
                    <a:pt x="0" y="34670"/>
                  </a:lnTo>
                  <a:lnTo>
                    <a:pt x="29325" y="55753"/>
                  </a:lnTo>
                  <a:lnTo>
                    <a:pt x="18308" y="90111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3D095741-78A5-4249-A019-547B448321E6}"/>
                </a:ext>
              </a:extLst>
            </p:cNvPr>
            <p:cNvSpPr/>
            <p:nvPr/>
          </p:nvSpPr>
          <p:spPr>
            <a:xfrm>
              <a:off x="10156798" y="4985595"/>
              <a:ext cx="94335" cy="90110"/>
            </a:xfrm>
            <a:custGeom>
              <a:avLst/>
              <a:gdLst>
                <a:gd name="connsiteX0" fmla="*/ 18309 w 94335"/>
                <a:gd name="connsiteY0" fmla="*/ 90111 h 90110"/>
                <a:gd name="connsiteX1" fmla="*/ 47168 w 94335"/>
                <a:gd name="connsiteY1" fmla="*/ 69028 h 90110"/>
                <a:gd name="connsiteX2" fmla="*/ 76027 w 94335"/>
                <a:gd name="connsiteY2" fmla="*/ 90111 h 90110"/>
                <a:gd name="connsiteX3" fmla="*/ 65011 w 94335"/>
                <a:gd name="connsiteY3" fmla="*/ 55909 h 90110"/>
                <a:gd name="connsiteX4" fmla="*/ 94336 w 94335"/>
                <a:gd name="connsiteY4" fmla="*/ 34670 h 90110"/>
                <a:gd name="connsiteX5" fmla="*/ 58184 w 94335"/>
                <a:gd name="connsiteY5" fmla="*/ 34670 h 90110"/>
                <a:gd name="connsiteX6" fmla="*/ 47168 w 94335"/>
                <a:gd name="connsiteY6" fmla="*/ 0 h 90110"/>
                <a:gd name="connsiteX7" fmla="*/ 36152 w 94335"/>
                <a:gd name="connsiteY7" fmla="*/ 34826 h 90110"/>
                <a:gd name="connsiteX8" fmla="*/ 0 w 94335"/>
                <a:gd name="connsiteY8" fmla="*/ 34670 h 90110"/>
                <a:gd name="connsiteX9" fmla="*/ 29325 w 94335"/>
                <a:gd name="connsiteY9" fmla="*/ 55909 h 90110"/>
                <a:gd name="connsiteX10" fmla="*/ 18309 w 94335"/>
                <a:gd name="connsiteY10" fmla="*/ 90111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90110">
                  <a:moveTo>
                    <a:pt x="18309" y="90111"/>
                  </a:moveTo>
                  <a:lnTo>
                    <a:pt x="47168" y="69028"/>
                  </a:lnTo>
                  <a:lnTo>
                    <a:pt x="76027" y="90111"/>
                  </a:lnTo>
                  <a:lnTo>
                    <a:pt x="65011" y="55909"/>
                  </a:lnTo>
                  <a:lnTo>
                    <a:pt x="94336" y="34670"/>
                  </a:lnTo>
                  <a:lnTo>
                    <a:pt x="58184" y="34670"/>
                  </a:lnTo>
                  <a:lnTo>
                    <a:pt x="47168" y="0"/>
                  </a:lnTo>
                  <a:lnTo>
                    <a:pt x="36152" y="34826"/>
                  </a:lnTo>
                  <a:lnTo>
                    <a:pt x="0" y="34670"/>
                  </a:lnTo>
                  <a:lnTo>
                    <a:pt x="29325" y="55909"/>
                  </a:lnTo>
                  <a:lnTo>
                    <a:pt x="18309" y="90111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0A3E533C-20D1-294F-B6BB-024B1C9C3F9A}"/>
                </a:ext>
              </a:extLst>
            </p:cNvPr>
            <p:cNvSpPr/>
            <p:nvPr/>
          </p:nvSpPr>
          <p:spPr>
            <a:xfrm>
              <a:off x="10061376" y="5081952"/>
              <a:ext cx="94335" cy="89954"/>
            </a:xfrm>
            <a:custGeom>
              <a:avLst/>
              <a:gdLst>
                <a:gd name="connsiteX0" fmla="*/ 47168 w 94335"/>
                <a:gd name="connsiteY0" fmla="*/ 0 h 89954"/>
                <a:gd name="connsiteX1" fmla="*/ 36152 w 94335"/>
                <a:gd name="connsiteY1" fmla="*/ 34670 h 89954"/>
                <a:gd name="connsiteX2" fmla="*/ 0 w 94335"/>
                <a:gd name="connsiteY2" fmla="*/ 34670 h 89954"/>
                <a:gd name="connsiteX3" fmla="*/ 29325 w 94335"/>
                <a:gd name="connsiteY3" fmla="*/ 55753 h 89954"/>
                <a:gd name="connsiteX4" fmla="*/ 18309 w 94335"/>
                <a:gd name="connsiteY4" fmla="*/ 89955 h 89954"/>
                <a:gd name="connsiteX5" fmla="*/ 47168 w 94335"/>
                <a:gd name="connsiteY5" fmla="*/ 68871 h 89954"/>
                <a:gd name="connsiteX6" fmla="*/ 76027 w 94335"/>
                <a:gd name="connsiteY6" fmla="*/ 89955 h 89954"/>
                <a:gd name="connsiteX7" fmla="*/ 65011 w 94335"/>
                <a:gd name="connsiteY7" fmla="*/ 55753 h 89954"/>
                <a:gd name="connsiteX8" fmla="*/ 94336 w 94335"/>
                <a:gd name="connsiteY8" fmla="*/ 34670 h 89954"/>
                <a:gd name="connsiteX9" fmla="*/ 58184 w 94335"/>
                <a:gd name="connsiteY9" fmla="*/ 34670 h 89954"/>
                <a:gd name="connsiteX10" fmla="*/ 47168 w 94335"/>
                <a:gd name="connsiteY10" fmla="*/ 0 h 8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89954">
                  <a:moveTo>
                    <a:pt x="47168" y="0"/>
                  </a:moveTo>
                  <a:lnTo>
                    <a:pt x="36152" y="34670"/>
                  </a:lnTo>
                  <a:lnTo>
                    <a:pt x="0" y="34670"/>
                  </a:lnTo>
                  <a:lnTo>
                    <a:pt x="29325" y="55753"/>
                  </a:lnTo>
                  <a:lnTo>
                    <a:pt x="18309" y="89955"/>
                  </a:lnTo>
                  <a:lnTo>
                    <a:pt x="47168" y="68871"/>
                  </a:lnTo>
                  <a:lnTo>
                    <a:pt x="76027" y="89955"/>
                  </a:lnTo>
                  <a:lnTo>
                    <a:pt x="65011" y="55753"/>
                  </a:lnTo>
                  <a:lnTo>
                    <a:pt x="94336" y="34670"/>
                  </a:lnTo>
                  <a:lnTo>
                    <a:pt x="58184" y="34670"/>
                  </a:lnTo>
                  <a:lnTo>
                    <a:pt x="47168" y="0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2AC63D38-E99F-DF47-9F8B-7E60D534F86B}"/>
                </a:ext>
              </a:extLst>
            </p:cNvPr>
            <p:cNvSpPr/>
            <p:nvPr/>
          </p:nvSpPr>
          <p:spPr>
            <a:xfrm>
              <a:off x="10026466" y="5212980"/>
              <a:ext cx="94180" cy="90110"/>
            </a:xfrm>
            <a:custGeom>
              <a:avLst/>
              <a:gdLst>
                <a:gd name="connsiteX0" fmla="*/ 47013 w 94180"/>
                <a:gd name="connsiteY0" fmla="*/ 68872 h 90110"/>
                <a:gd name="connsiteX1" fmla="*/ 75872 w 94180"/>
                <a:gd name="connsiteY1" fmla="*/ 90111 h 90110"/>
                <a:gd name="connsiteX2" fmla="*/ 64856 w 94180"/>
                <a:gd name="connsiteY2" fmla="*/ 55753 h 90110"/>
                <a:gd name="connsiteX3" fmla="*/ 94180 w 94180"/>
                <a:gd name="connsiteY3" fmla="*/ 34670 h 90110"/>
                <a:gd name="connsiteX4" fmla="*/ 58029 w 94180"/>
                <a:gd name="connsiteY4" fmla="*/ 34670 h 90110"/>
                <a:gd name="connsiteX5" fmla="*/ 47013 w 94180"/>
                <a:gd name="connsiteY5" fmla="*/ 0 h 90110"/>
                <a:gd name="connsiteX6" fmla="*/ 35996 w 94180"/>
                <a:gd name="connsiteY6" fmla="*/ 34670 h 90110"/>
                <a:gd name="connsiteX7" fmla="*/ 0 w 94180"/>
                <a:gd name="connsiteY7" fmla="*/ 34670 h 90110"/>
                <a:gd name="connsiteX8" fmla="*/ 29170 w 94180"/>
                <a:gd name="connsiteY8" fmla="*/ 55753 h 90110"/>
                <a:gd name="connsiteX9" fmla="*/ 18153 w 94180"/>
                <a:gd name="connsiteY9" fmla="*/ 90111 h 90110"/>
                <a:gd name="connsiteX10" fmla="*/ 47013 w 94180"/>
                <a:gd name="connsiteY10" fmla="*/ 68872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180" h="90110">
                  <a:moveTo>
                    <a:pt x="47013" y="68872"/>
                  </a:moveTo>
                  <a:lnTo>
                    <a:pt x="75872" y="90111"/>
                  </a:lnTo>
                  <a:lnTo>
                    <a:pt x="64856" y="55753"/>
                  </a:lnTo>
                  <a:lnTo>
                    <a:pt x="94180" y="34670"/>
                  </a:lnTo>
                  <a:lnTo>
                    <a:pt x="58029" y="34670"/>
                  </a:lnTo>
                  <a:lnTo>
                    <a:pt x="47013" y="0"/>
                  </a:lnTo>
                  <a:lnTo>
                    <a:pt x="35996" y="34670"/>
                  </a:lnTo>
                  <a:lnTo>
                    <a:pt x="0" y="34670"/>
                  </a:lnTo>
                  <a:lnTo>
                    <a:pt x="29170" y="55753"/>
                  </a:lnTo>
                  <a:lnTo>
                    <a:pt x="18153" y="90111"/>
                  </a:lnTo>
                  <a:lnTo>
                    <a:pt x="47013" y="68872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A79E44A-2E88-5543-B818-D603684E9A84}"/>
                </a:ext>
              </a:extLst>
            </p:cNvPr>
            <p:cNvSpPr/>
            <p:nvPr/>
          </p:nvSpPr>
          <p:spPr>
            <a:xfrm>
              <a:off x="10061376" y="5344320"/>
              <a:ext cx="94335" cy="90110"/>
            </a:xfrm>
            <a:custGeom>
              <a:avLst/>
              <a:gdLst>
                <a:gd name="connsiteX0" fmla="*/ 58184 w 94335"/>
                <a:gd name="connsiteY0" fmla="*/ 34826 h 90110"/>
                <a:gd name="connsiteX1" fmla="*/ 47168 w 94335"/>
                <a:gd name="connsiteY1" fmla="*/ 0 h 90110"/>
                <a:gd name="connsiteX2" fmla="*/ 36152 w 94335"/>
                <a:gd name="connsiteY2" fmla="*/ 34826 h 90110"/>
                <a:gd name="connsiteX3" fmla="*/ 0 w 94335"/>
                <a:gd name="connsiteY3" fmla="*/ 34826 h 90110"/>
                <a:gd name="connsiteX4" fmla="*/ 29325 w 94335"/>
                <a:gd name="connsiteY4" fmla="*/ 55909 h 90110"/>
                <a:gd name="connsiteX5" fmla="*/ 18309 w 94335"/>
                <a:gd name="connsiteY5" fmla="*/ 90111 h 90110"/>
                <a:gd name="connsiteX6" fmla="*/ 47168 w 94335"/>
                <a:gd name="connsiteY6" fmla="*/ 68871 h 90110"/>
                <a:gd name="connsiteX7" fmla="*/ 76027 w 94335"/>
                <a:gd name="connsiteY7" fmla="*/ 90111 h 90110"/>
                <a:gd name="connsiteX8" fmla="*/ 65011 w 94335"/>
                <a:gd name="connsiteY8" fmla="*/ 55909 h 90110"/>
                <a:gd name="connsiteX9" fmla="*/ 94336 w 94335"/>
                <a:gd name="connsiteY9" fmla="*/ 34826 h 90110"/>
                <a:gd name="connsiteX10" fmla="*/ 58184 w 94335"/>
                <a:gd name="connsiteY10" fmla="*/ 34826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90110">
                  <a:moveTo>
                    <a:pt x="58184" y="34826"/>
                  </a:moveTo>
                  <a:lnTo>
                    <a:pt x="47168" y="0"/>
                  </a:lnTo>
                  <a:lnTo>
                    <a:pt x="36152" y="34826"/>
                  </a:lnTo>
                  <a:lnTo>
                    <a:pt x="0" y="34826"/>
                  </a:lnTo>
                  <a:lnTo>
                    <a:pt x="29325" y="55909"/>
                  </a:lnTo>
                  <a:lnTo>
                    <a:pt x="18309" y="90111"/>
                  </a:lnTo>
                  <a:lnTo>
                    <a:pt x="47168" y="68871"/>
                  </a:lnTo>
                  <a:lnTo>
                    <a:pt x="76027" y="90111"/>
                  </a:lnTo>
                  <a:lnTo>
                    <a:pt x="65011" y="55909"/>
                  </a:lnTo>
                  <a:lnTo>
                    <a:pt x="94336" y="34826"/>
                  </a:lnTo>
                  <a:lnTo>
                    <a:pt x="58184" y="34826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A98AF1B4-2646-9D49-B7E5-C83E13BFBAD8}"/>
                </a:ext>
              </a:extLst>
            </p:cNvPr>
            <p:cNvSpPr/>
            <p:nvPr/>
          </p:nvSpPr>
          <p:spPr>
            <a:xfrm>
              <a:off x="10156953" y="5440521"/>
              <a:ext cx="94335" cy="90110"/>
            </a:xfrm>
            <a:custGeom>
              <a:avLst/>
              <a:gdLst>
                <a:gd name="connsiteX0" fmla="*/ 58339 w 94335"/>
                <a:gd name="connsiteY0" fmla="*/ 34670 h 90110"/>
                <a:gd name="connsiteX1" fmla="*/ 47168 w 94335"/>
                <a:gd name="connsiteY1" fmla="*/ 0 h 90110"/>
                <a:gd name="connsiteX2" fmla="*/ 36152 w 94335"/>
                <a:gd name="connsiteY2" fmla="*/ 34670 h 90110"/>
                <a:gd name="connsiteX3" fmla="*/ 0 w 94335"/>
                <a:gd name="connsiteY3" fmla="*/ 34670 h 90110"/>
                <a:gd name="connsiteX4" fmla="*/ 29325 w 94335"/>
                <a:gd name="connsiteY4" fmla="*/ 55909 h 90110"/>
                <a:gd name="connsiteX5" fmla="*/ 18464 w 94335"/>
                <a:gd name="connsiteY5" fmla="*/ 90111 h 90110"/>
                <a:gd name="connsiteX6" fmla="*/ 47323 w 94335"/>
                <a:gd name="connsiteY6" fmla="*/ 69028 h 90110"/>
                <a:gd name="connsiteX7" fmla="*/ 76027 w 94335"/>
                <a:gd name="connsiteY7" fmla="*/ 90111 h 90110"/>
                <a:gd name="connsiteX8" fmla="*/ 65166 w 94335"/>
                <a:gd name="connsiteY8" fmla="*/ 55909 h 90110"/>
                <a:gd name="connsiteX9" fmla="*/ 94336 w 94335"/>
                <a:gd name="connsiteY9" fmla="*/ 34670 h 90110"/>
                <a:gd name="connsiteX10" fmla="*/ 58339 w 94335"/>
                <a:gd name="connsiteY10" fmla="*/ 34670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90110">
                  <a:moveTo>
                    <a:pt x="58339" y="34670"/>
                  </a:moveTo>
                  <a:lnTo>
                    <a:pt x="47168" y="0"/>
                  </a:lnTo>
                  <a:lnTo>
                    <a:pt x="36152" y="34670"/>
                  </a:lnTo>
                  <a:lnTo>
                    <a:pt x="0" y="34670"/>
                  </a:lnTo>
                  <a:lnTo>
                    <a:pt x="29325" y="55909"/>
                  </a:lnTo>
                  <a:lnTo>
                    <a:pt x="18464" y="90111"/>
                  </a:lnTo>
                  <a:lnTo>
                    <a:pt x="47323" y="69028"/>
                  </a:lnTo>
                  <a:lnTo>
                    <a:pt x="76027" y="90111"/>
                  </a:lnTo>
                  <a:lnTo>
                    <a:pt x="65166" y="55909"/>
                  </a:lnTo>
                  <a:lnTo>
                    <a:pt x="94336" y="34670"/>
                  </a:lnTo>
                  <a:lnTo>
                    <a:pt x="58339" y="34670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3B18AF90-4C9A-B045-ACD5-ABC14D348C7A}"/>
                </a:ext>
              </a:extLst>
            </p:cNvPr>
            <p:cNvSpPr/>
            <p:nvPr/>
          </p:nvSpPr>
          <p:spPr>
            <a:xfrm>
              <a:off x="10287285" y="5475504"/>
              <a:ext cx="94335" cy="89954"/>
            </a:xfrm>
            <a:custGeom>
              <a:avLst/>
              <a:gdLst>
                <a:gd name="connsiteX0" fmla="*/ 58184 w 94335"/>
                <a:gd name="connsiteY0" fmla="*/ 34670 h 89954"/>
                <a:gd name="connsiteX1" fmla="*/ 47168 w 94335"/>
                <a:gd name="connsiteY1" fmla="*/ 0 h 89954"/>
                <a:gd name="connsiteX2" fmla="*/ 36152 w 94335"/>
                <a:gd name="connsiteY2" fmla="*/ 34670 h 89954"/>
                <a:gd name="connsiteX3" fmla="*/ 0 w 94335"/>
                <a:gd name="connsiteY3" fmla="*/ 34670 h 89954"/>
                <a:gd name="connsiteX4" fmla="*/ 29325 w 94335"/>
                <a:gd name="connsiteY4" fmla="*/ 55753 h 89954"/>
                <a:gd name="connsiteX5" fmla="*/ 18308 w 94335"/>
                <a:gd name="connsiteY5" fmla="*/ 89955 h 89954"/>
                <a:gd name="connsiteX6" fmla="*/ 47168 w 94335"/>
                <a:gd name="connsiteY6" fmla="*/ 68871 h 89954"/>
                <a:gd name="connsiteX7" fmla="*/ 76027 w 94335"/>
                <a:gd name="connsiteY7" fmla="*/ 89955 h 89954"/>
                <a:gd name="connsiteX8" fmla="*/ 65011 w 94335"/>
                <a:gd name="connsiteY8" fmla="*/ 55753 h 89954"/>
                <a:gd name="connsiteX9" fmla="*/ 94336 w 94335"/>
                <a:gd name="connsiteY9" fmla="*/ 34670 h 89954"/>
                <a:gd name="connsiteX10" fmla="*/ 58184 w 94335"/>
                <a:gd name="connsiteY10" fmla="*/ 34670 h 8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89954">
                  <a:moveTo>
                    <a:pt x="58184" y="34670"/>
                  </a:moveTo>
                  <a:lnTo>
                    <a:pt x="47168" y="0"/>
                  </a:lnTo>
                  <a:lnTo>
                    <a:pt x="36152" y="34670"/>
                  </a:lnTo>
                  <a:lnTo>
                    <a:pt x="0" y="34670"/>
                  </a:lnTo>
                  <a:lnTo>
                    <a:pt x="29325" y="55753"/>
                  </a:lnTo>
                  <a:lnTo>
                    <a:pt x="18308" y="89955"/>
                  </a:lnTo>
                  <a:lnTo>
                    <a:pt x="47168" y="68871"/>
                  </a:lnTo>
                  <a:lnTo>
                    <a:pt x="76027" y="89955"/>
                  </a:lnTo>
                  <a:lnTo>
                    <a:pt x="65011" y="55753"/>
                  </a:lnTo>
                  <a:lnTo>
                    <a:pt x="94336" y="34670"/>
                  </a:lnTo>
                  <a:lnTo>
                    <a:pt x="58184" y="34670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A42A4FCD-975C-8D4F-A6D0-58A99F00EE00}"/>
                </a:ext>
              </a:extLst>
            </p:cNvPr>
            <p:cNvSpPr/>
            <p:nvPr/>
          </p:nvSpPr>
          <p:spPr>
            <a:xfrm>
              <a:off x="10417617" y="5440521"/>
              <a:ext cx="94180" cy="90110"/>
            </a:xfrm>
            <a:custGeom>
              <a:avLst/>
              <a:gdLst>
                <a:gd name="connsiteX0" fmla="*/ 58184 w 94180"/>
                <a:gd name="connsiteY0" fmla="*/ 34670 h 90110"/>
                <a:gd name="connsiteX1" fmla="*/ 47168 w 94180"/>
                <a:gd name="connsiteY1" fmla="*/ 0 h 90110"/>
                <a:gd name="connsiteX2" fmla="*/ 35996 w 94180"/>
                <a:gd name="connsiteY2" fmla="*/ 34670 h 90110"/>
                <a:gd name="connsiteX3" fmla="*/ 0 w 94180"/>
                <a:gd name="connsiteY3" fmla="*/ 34670 h 90110"/>
                <a:gd name="connsiteX4" fmla="*/ 29170 w 94180"/>
                <a:gd name="connsiteY4" fmla="*/ 55909 h 90110"/>
                <a:gd name="connsiteX5" fmla="*/ 18309 w 94180"/>
                <a:gd name="connsiteY5" fmla="*/ 90111 h 90110"/>
                <a:gd name="connsiteX6" fmla="*/ 47168 w 94180"/>
                <a:gd name="connsiteY6" fmla="*/ 69028 h 90110"/>
                <a:gd name="connsiteX7" fmla="*/ 76027 w 94180"/>
                <a:gd name="connsiteY7" fmla="*/ 90111 h 90110"/>
                <a:gd name="connsiteX8" fmla="*/ 65011 w 94180"/>
                <a:gd name="connsiteY8" fmla="*/ 55909 h 90110"/>
                <a:gd name="connsiteX9" fmla="*/ 94180 w 94180"/>
                <a:gd name="connsiteY9" fmla="*/ 34670 h 90110"/>
                <a:gd name="connsiteX10" fmla="*/ 58184 w 94180"/>
                <a:gd name="connsiteY10" fmla="*/ 34670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180" h="90110">
                  <a:moveTo>
                    <a:pt x="58184" y="34670"/>
                  </a:moveTo>
                  <a:lnTo>
                    <a:pt x="47168" y="0"/>
                  </a:lnTo>
                  <a:lnTo>
                    <a:pt x="35996" y="34670"/>
                  </a:lnTo>
                  <a:lnTo>
                    <a:pt x="0" y="34670"/>
                  </a:lnTo>
                  <a:lnTo>
                    <a:pt x="29170" y="55909"/>
                  </a:lnTo>
                  <a:lnTo>
                    <a:pt x="18309" y="90111"/>
                  </a:lnTo>
                  <a:lnTo>
                    <a:pt x="47168" y="69028"/>
                  </a:lnTo>
                  <a:lnTo>
                    <a:pt x="76027" y="90111"/>
                  </a:lnTo>
                  <a:lnTo>
                    <a:pt x="65011" y="55909"/>
                  </a:lnTo>
                  <a:lnTo>
                    <a:pt x="94180" y="34670"/>
                  </a:lnTo>
                  <a:lnTo>
                    <a:pt x="58184" y="34670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8B920E4B-37BC-A548-B714-EED10D737825}"/>
                </a:ext>
              </a:extLst>
            </p:cNvPr>
            <p:cNvSpPr/>
            <p:nvPr/>
          </p:nvSpPr>
          <p:spPr>
            <a:xfrm>
              <a:off x="10513194" y="5344320"/>
              <a:ext cx="94335" cy="90110"/>
            </a:xfrm>
            <a:custGeom>
              <a:avLst/>
              <a:gdLst>
                <a:gd name="connsiteX0" fmla="*/ 58184 w 94335"/>
                <a:gd name="connsiteY0" fmla="*/ 34826 h 90110"/>
                <a:gd name="connsiteX1" fmla="*/ 47168 w 94335"/>
                <a:gd name="connsiteY1" fmla="*/ 0 h 90110"/>
                <a:gd name="connsiteX2" fmla="*/ 36152 w 94335"/>
                <a:gd name="connsiteY2" fmla="*/ 34826 h 90110"/>
                <a:gd name="connsiteX3" fmla="*/ 0 w 94335"/>
                <a:gd name="connsiteY3" fmla="*/ 34826 h 90110"/>
                <a:gd name="connsiteX4" fmla="*/ 29325 w 94335"/>
                <a:gd name="connsiteY4" fmla="*/ 55909 h 90110"/>
                <a:gd name="connsiteX5" fmla="*/ 18309 w 94335"/>
                <a:gd name="connsiteY5" fmla="*/ 90111 h 90110"/>
                <a:gd name="connsiteX6" fmla="*/ 47168 w 94335"/>
                <a:gd name="connsiteY6" fmla="*/ 68871 h 90110"/>
                <a:gd name="connsiteX7" fmla="*/ 76027 w 94335"/>
                <a:gd name="connsiteY7" fmla="*/ 90111 h 90110"/>
                <a:gd name="connsiteX8" fmla="*/ 65011 w 94335"/>
                <a:gd name="connsiteY8" fmla="*/ 55909 h 90110"/>
                <a:gd name="connsiteX9" fmla="*/ 94336 w 94335"/>
                <a:gd name="connsiteY9" fmla="*/ 34826 h 90110"/>
                <a:gd name="connsiteX10" fmla="*/ 58184 w 94335"/>
                <a:gd name="connsiteY10" fmla="*/ 34826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90110">
                  <a:moveTo>
                    <a:pt x="58184" y="34826"/>
                  </a:moveTo>
                  <a:lnTo>
                    <a:pt x="47168" y="0"/>
                  </a:lnTo>
                  <a:lnTo>
                    <a:pt x="36152" y="34826"/>
                  </a:lnTo>
                  <a:lnTo>
                    <a:pt x="0" y="34826"/>
                  </a:lnTo>
                  <a:lnTo>
                    <a:pt x="29325" y="55909"/>
                  </a:lnTo>
                  <a:lnTo>
                    <a:pt x="18309" y="90111"/>
                  </a:lnTo>
                  <a:lnTo>
                    <a:pt x="47168" y="68871"/>
                  </a:lnTo>
                  <a:lnTo>
                    <a:pt x="76027" y="90111"/>
                  </a:lnTo>
                  <a:lnTo>
                    <a:pt x="65011" y="55909"/>
                  </a:lnTo>
                  <a:lnTo>
                    <a:pt x="94336" y="34826"/>
                  </a:lnTo>
                  <a:lnTo>
                    <a:pt x="58184" y="34826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B089FC-1AC9-E240-9244-04DDB61A91D2}"/>
                </a:ext>
              </a:extLst>
            </p:cNvPr>
            <p:cNvSpPr/>
            <p:nvPr/>
          </p:nvSpPr>
          <p:spPr>
            <a:xfrm>
              <a:off x="10547794" y="5212511"/>
              <a:ext cx="94335" cy="90110"/>
            </a:xfrm>
            <a:custGeom>
              <a:avLst/>
              <a:gdLst>
                <a:gd name="connsiteX0" fmla="*/ 94336 w 94335"/>
                <a:gd name="connsiteY0" fmla="*/ 34670 h 90110"/>
                <a:gd name="connsiteX1" fmla="*/ 58184 w 94335"/>
                <a:gd name="connsiteY1" fmla="*/ 34670 h 90110"/>
                <a:gd name="connsiteX2" fmla="*/ 47168 w 94335"/>
                <a:gd name="connsiteY2" fmla="*/ 0 h 90110"/>
                <a:gd name="connsiteX3" fmla="*/ 36152 w 94335"/>
                <a:gd name="connsiteY3" fmla="*/ 34826 h 90110"/>
                <a:gd name="connsiteX4" fmla="*/ 0 w 94335"/>
                <a:gd name="connsiteY4" fmla="*/ 34670 h 90110"/>
                <a:gd name="connsiteX5" fmla="*/ 29325 w 94335"/>
                <a:gd name="connsiteY5" fmla="*/ 55909 h 90110"/>
                <a:gd name="connsiteX6" fmla="*/ 18309 w 94335"/>
                <a:gd name="connsiteY6" fmla="*/ 90111 h 90110"/>
                <a:gd name="connsiteX7" fmla="*/ 47168 w 94335"/>
                <a:gd name="connsiteY7" fmla="*/ 68871 h 90110"/>
                <a:gd name="connsiteX8" fmla="*/ 76027 w 94335"/>
                <a:gd name="connsiteY8" fmla="*/ 90111 h 90110"/>
                <a:gd name="connsiteX9" fmla="*/ 65011 w 94335"/>
                <a:gd name="connsiteY9" fmla="*/ 55909 h 90110"/>
                <a:gd name="connsiteX10" fmla="*/ 94336 w 94335"/>
                <a:gd name="connsiteY10" fmla="*/ 34670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90110">
                  <a:moveTo>
                    <a:pt x="94336" y="34670"/>
                  </a:moveTo>
                  <a:lnTo>
                    <a:pt x="58184" y="34670"/>
                  </a:lnTo>
                  <a:lnTo>
                    <a:pt x="47168" y="0"/>
                  </a:lnTo>
                  <a:lnTo>
                    <a:pt x="36152" y="34826"/>
                  </a:lnTo>
                  <a:lnTo>
                    <a:pt x="0" y="34670"/>
                  </a:lnTo>
                  <a:lnTo>
                    <a:pt x="29325" y="55909"/>
                  </a:lnTo>
                  <a:lnTo>
                    <a:pt x="18309" y="90111"/>
                  </a:lnTo>
                  <a:lnTo>
                    <a:pt x="47168" y="68871"/>
                  </a:lnTo>
                  <a:lnTo>
                    <a:pt x="76027" y="90111"/>
                  </a:lnTo>
                  <a:lnTo>
                    <a:pt x="65011" y="55909"/>
                  </a:lnTo>
                  <a:lnTo>
                    <a:pt x="94336" y="34670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BFF3B7A3-7BC0-5149-910D-247D0BFE788F}"/>
                </a:ext>
              </a:extLst>
            </p:cNvPr>
            <p:cNvSpPr/>
            <p:nvPr/>
          </p:nvSpPr>
          <p:spPr>
            <a:xfrm>
              <a:off x="10513194" y="5081484"/>
              <a:ext cx="94335" cy="90110"/>
            </a:xfrm>
            <a:custGeom>
              <a:avLst/>
              <a:gdLst>
                <a:gd name="connsiteX0" fmla="*/ 18309 w 94335"/>
                <a:gd name="connsiteY0" fmla="*/ 90111 h 90110"/>
                <a:gd name="connsiteX1" fmla="*/ 47168 w 94335"/>
                <a:gd name="connsiteY1" fmla="*/ 68872 h 90110"/>
                <a:gd name="connsiteX2" fmla="*/ 76027 w 94335"/>
                <a:gd name="connsiteY2" fmla="*/ 90111 h 90110"/>
                <a:gd name="connsiteX3" fmla="*/ 65011 w 94335"/>
                <a:gd name="connsiteY3" fmla="*/ 55909 h 90110"/>
                <a:gd name="connsiteX4" fmla="*/ 94336 w 94335"/>
                <a:gd name="connsiteY4" fmla="*/ 34670 h 90110"/>
                <a:gd name="connsiteX5" fmla="*/ 58184 w 94335"/>
                <a:gd name="connsiteY5" fmla="*/ 34670 h 90110"/>
                <a:gd name="connsiteX6" fmla="*/ 47168 w 94335"/>
                <a:gd name="connsiteY6" fmla="*/ 0 h 90110"/>
                <a:gd name="connsiteX7" fmla="*/ 36152 w 94335"/>
                <a:gd name="connsiteY7" fmla="*/ 34826 h 90110"/>
                <a:gd name="connsiteX8" fmla="*/ 0 w 94335"/>
                <a:gd name="connsiteY8" fmla="*/ 34670 h 90110"/>
                <a:gd name="connsiteX9" fmla="*/ 29325 w 94335"/>
                <a:gd name="connsiteY9" fmla="*/ 55909 h 90110"/>
                <a:gd name="connsiteX10" fmla="*/ 18309 w 94335"/>
                <a:gd name="connsiteY10" fmla="*/ 90111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90110">
                  <a:moveTo>
                    <a:pt x="18309" y="90111"/>
                  </a:moveTo>
                  <a:lnTo>
                    <a:pt x="47168" y="68872"/>
                  </a:lnTo>
                  <a:lnTo>
                    <a:pt x="76027" y="90111"/>
                  </a:lnTo>
                  <a:lnTo>
                    <a:pt x="65011" y="55909"/>
                  </a:lnTo>
                  <a:lnTo>
                    <a:pt x="94336" y="34670"/>
                  </a:lnTo>
                  <a:lnTo>
                    <a:pt x="58184" y="34670"/>
                  </a:lnTo>
                  <a:lnTo>
                    <a:pt x="47168" y="0"/>
                  </a:lnTo>
                  <a:lnTo>
                    <a:pt x="36152" y="34826"/>
                  </a:lnTo>
                  <a:lnTo>
                    <a:pt x="0" y="34670"/>
                  </a:lnTo>
                  <a:lnTo>
                    <a:pt x="29325" y="55909"/>
                  </a:lnTo>
                  <a:lnTo>
                    <a:pt x="18309" y="90111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9756EE56-CC4F-7846-BEB6-8238484B93E3}"/>
                </a:ext>
              </a:extLst>
            </p:cNvPr>
            <p:cNvSpPr/>
            <p:nvPr/>
          </p:nvSpPr>
          <p:spPr>
            <a:xfrm>
              <a:off x="10417928" y="4985751"/>
              <a:ext cx="94335" cy="90110"/>
            </a:xfrm>
            <a:custGeom>
              <a:avLst/>
              <a:gdLst>
                <a:gd name="connsiteX0" fmla="*/ 47168 w 94335"/>
                <a:gd name="connsiteY0" fmla="*/ 0 h 90110"/>
                <a:gd name="connsiteX1" fmla="*/ 36152 w 94335"/>
                <a:gd name="connsiteY1" fmla="*/ 34670 h 90110"/>
                <a:gd name="connsiteX2" fmla="*/ 0 w 94335"/>
                <a:gd name="connsiteY2" fmla="*/ 34514 h 90110"/>
                <a:gd name="connsiteX3" fmla="*/ 29325 w 94335"/>
                <a:gd name="connsiteY3" fmla="*/ 55753 h 90110"/>
                <a:gd name="connsiteX4" fmla="*/ 18309 w 94335"/>
                <a:gd name="connsiteY4" fmla="*/ 90111 h 90110"/>
                <a:gd name="connsiteX5" fmla="*/ 47168 w 94335"/>
                <a:gd name="connsiteY5" fmla="*/ 68871 h 90110"/>
                <a:gd name="connsiteX6" fmla="*/ 76027 w 94335"/>
                <a:gd name="connsiteY6" fmla="*/ 90111 h 90110"/>
                <a:gd name="connsiteX7" fmla="*/ 65011 w 94335"/>
                <a:gd name="connsiteY7" fmla="*/ 55753 h 90110"/>
                <a:gd name="connsiteX8" fmla="*/ 94336 w 94335"/>
                <a:gd name="connsiteY8" fmla="*/ 34514 h 90110"/>
                <a:gd name="connsiteX9" fmla="*/ 58184 w 94335"/>
                <a:gd name="connsiteY9" fmla="*/ 34514 h 90110"/>
                <a:gd name="connsiteX10" fmla="*/ 47168 w 94335"/>
                <a:gd name="connsiteY10" fmla="*/ 0 h 9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335" h="90110">
                  <a:moveTo>
                    <a:pt x="47168" y="0"/>
                  </a:moveTo>
                  <a:lnTo>
                    <a:pt x="36152" y="34670"/>
                  </a:lnTo>
                  <a:lnTo>
                    <a:pt x="0" y="34514"/>
                  </a:lnTo>
                  <a:lnTo>
                    <a:pt x="29325" y="55753"/>
                  </a:lnTo>
                  <a:lnTo>
                    <a:pt x="18309" y="90111"/>
                  </a:lnTo>
                  <a:lnTo>
                    <a:pt x="47168" y="68871"/>
                  </a:lnTo>
                  <a:lnTo>
                    <a:pt x="76027" y="90111"/>
                  </a:lnTo>
                  <a:lnTo>
                    <a:pt x="65011" y="55753"/>
                  </a:lnTo>
                  <a:lnTo>
                    <a:pt x="94336" y="34514"/>
                  </a:lnTo>
                  <a:lnTo>
                    <a:pt x="58184" y="34514"/>
                  </a:lnTo>
                  <a:lnTo>
                    <a:pt x="47168" y="0"/>
                  </a:lnTo>
                  <a:close/>
                </a:path>
              </a:pathLst>
            </a:custGeom>
            <a:solidFill>
              <a:srgbClr val="FFCD00"/>
            </a:solidFill>
            <a:ln w="15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LU"/>
            </a:p>
          </p:txBody>
        </p:sp>
      </p:grpSp>
    </p:spTree>
    <p:extLst>
      <p:ext uri="{BB962C8B-B14F-4D97-AF65-F5344CB8AC3E}">
        <p14:creationId xmlns:p14="http://schemas.microsoft.com/office/powerpoint/2010/main" val="39377106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82F3FC-2397-5E43-BE99-87ECF7791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L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0927A4-839B-6B4A-98DA-E5B9657041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L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4FB991-6F16-8B49-ACD5-551114BB62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5DA6ED-620A-3D49-B565-1B8726B01B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Ins="0"/>
          <a:lstStyle/>
          <a:p>
            <a:fld id="{565F4DDF-2308-8849-B5A9-77634EBD6ED5}" type="slidenum">
              <a:rPr lang="en-LU" smtClean="0"/>
              <a:t>‹Nr.›</a:t>
            </a:fld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38977315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05293C-CC89-2149-A95B-5C5CA914C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L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0804A0-A3EF-E542-BA6B-4B202D966A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Trebuchet MS" panose="020B070302020209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064E86-3EF6-B345-8D10-B855749FEB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493310-E222-B545-B632-EAC2C6E38E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F4DDF-2308-8849-B5A9-77634EBD6ED5}" type="slidenum">
              <a:rPr lang="en-LU" smtClean="0"/>
              <a:t>‹Nr.›</a:t>
            </a:fld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15859502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9"/>
          <p:cNvSpPr txBox="1">
            <a:spLocks noGrp="1"/>
          </p:cNvSpPr>
          <p:nvPr>
            <p:ph type="body" idx="1"/>
          </p:nvPr>
        </p:nvSpPr>
        <p:spPr>
          <a:xfrm>
            <a:off x="967154" y="1825624"/>
            <a:ext cx="10267462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22" name="Google Shape;22;p9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" name="Google Shape;23;p9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50A6A-B206-8C40-B7A0-5DDBCC79B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L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748C83-F64A-004A-9531-A313B8BD93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L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2A2CC6-FA9A-104D-A4A0-8DC0EE5C4B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L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95E185-C151-2044-9B49-E53ADADFEF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69833" y="6245223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L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24A90D-9F50-DB47-9FBB-A41B60099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F96B1F-3DB7-E74D-BC75-D73150E20B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F4DDF-2308-8849-B5A9-77634EBD6ED5}" type="slidenum">
              <a:rPr lang="en-LU" smtClean="0"/>
              <a:t>‹Nr.›</a:t>
            </a:fld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12650391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2817F2-03D9-A040-AD92-B65766A8B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L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590FBD-FF81-EA46-81A1-3D31C74DA8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Trebuchet MS" panose="020B070302020209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FACD77-B990-BA4C-BAFD-54F4B5CE3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 sz="2400">
                <a:latin typeface="Trebuchet MS" panose="020B0703020202090204" pitchFamily="34" charset="0"/>
              </a:defRPr>
            </a:lvl1pPr>
            <a:lvl2pPr>
              <a:defRPr sz="2000">
                <a:latin typeface="Trebuchet MS" panose="020B0703020202090204" pitchFamily="34" charset="0"/>
              </a:defRPr>
            </a:lvl2pPr>
            <a:lvl3pPr>
              <a:defRPr sz="2400">
                <a:latin typeface="Trebuchet MS" panose="020B0703020202090204" pitchFamily="34" charset="0"/>
              </a:defRPr>
            </a:lvl3pPr>
            <a:lvl4pPr>
              <a:defRPr sz="2400">
                <a:latin typeface="Trebuchet MS" panose="020B0703020202090204" pitchFamily="34" charset="0"/>
              </a:defRPr>
            </a:lvl4pPr>
            <a:lvl5pPr>
              <a:defRPr sz="2400">
                <a:latin typeface="Trebuchet MS" panose="020B070302020209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CF82F0-7FC9-C947-86CE-CA18A3A140E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Trebuchet MS" panose="020B070302020209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F4BE26-7C3A-A54F-B8FF-D61CCCDB1A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 sz="2400">
                <a:latin typeface="Trebuchet MS" panose="020B0703020202090204" pitchFamily="34" charset="0"/>
              </a:defRPr>
            </a:lvl1pPr>
            <a:lvl2pPr>
              <a:defRPr sz="2000">
                <a:latin typeface="Trebuchet MS" panose="020B0703020202090204" pitchFamily="34" charset="0"/>
              </a:defRPr>
            </a:lvl2pPr>
            <a:lvl3pPr>
              <a:defRPr>
                <a:latin typeface="Trebuchet MS" panose="020B0703020202090204" pitchFamily="34" charset="0"/>
              </a:defRPr>
            </a:lvl3pPr>
            <a:lvl4pPr>
              <a:defRPr>
                <a:latin typeface="Trebuchet MS" panose="020B0703020202090204" pitchFamily="34" charset="0"/>
              </a:defRPr>
            </a:lvl4pPr>
            <a:lvl5pPr>
              <a:defRPr>
                <a:latin typeface="Trebuchet MS" panose="020B070302020209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B8BC73D-44A2-9F4E-9443-B5AB70A6D9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L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9605B4-02C3-7F40-A949-4CC9FB93D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F4DDF-2308-8849-B5A9-77634EBD6ED5}" type="slidenum">
              <a:rPr lang="en-LU" smtClean="0"/>
              <a:t>‹Nr.›</a:t>
            </a:fld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30695803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A508BC-7111-490D-8AA4-69695596D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CB1DE61-89B6-41AA-87FA-6E6B2CAC50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36933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E1ADFF0-0B74-4752-8FE8-8B549E4CB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3193F-3E24-401F-951F-098ACF68F8FF}" type="datetimeFigureOut">
              <a:rPr lang="de-DE" smtClean="0"/>
              <a:t>20.1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553D3EA-939A-4E51-8D1E-B7C0834C3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8ECA9C3-FBFC-4AF6-8977-D92309B03C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730BA2-502D-44C9-981B-9F67D31E4E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64712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001D8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49941" y="977515"/>
            <a:ext cx="6378917" cy="3234266"/>
          </a:xfrm>
          <a:prstGeom prst="rect">
            <a:avLst/>
          </a:prstGeom>
        </p:spPr>
        <p:txBody>
          <a:bodyPr lIns="72000" tIns="72000" rIns="72000" bIns="72000" anchor="t" anchorCtr="0">
            <a:normAutofit/>
          </a:bodyPr>
          <a:lstStyle>
            <a:lvl1pPr algn="l" fontAlgn="t">
              <a:lnSpc>
                <a:spcPts val="4799"/>
              </a:lnSpc>
              <a:defRPr sz="4499" b="0" i="0">
                <a:solidFill>
                  <a:schemeClr val="bg1"/>
                </a:solidFill>
                <a:latin typeface="Ubuntu Medium" panose="020B0504030602030204" pitchFamily="34" charset="0"/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75089" y="5002374"/>
            <a:ext cx="5316025" cy="38474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buNone/>
              <a:defRPr sz="2250" b="0" i="0">
                <a:solidFill>
                  <a:schemeClr val="bg1"/>
                </a:solidFill>
                <a:latin typeface="Ubuntu Medium" panose="020B0504030602030204" pitchFamily="34" charset="0"/>
              </a:defRPr>
            </a:lvl1pPr>
            <a:lvl2pPr marL="226041" indent="0" algn="ctr">
              <a:buNone/>
              <a:defRPr sz="988"/>
            </a:lvl2pPr>
            <a:lvl3pPr marL="452082" indent="0" algn="ctr">
              <a:buNone/>
              <a:defRPr sz="890"/>
            </a:lvl3pPr>
            <a:lvl4pPr marL="678123" indent="0" algn="ctr">
              <a:buNone/>
              <a:defRPr sz="791"/>
            </a:lvl4pPr>
            <a:lvl5pPr marL="904164" indent="0" algn="ctr">
              <a:buNone/>
              <a:defRPr sz="791"/>
            </a:lvl5pPr>
            <a:lvl6pPr marL="1130207" indent="0" algn="ctr">
              <a:buNone/>
              <a:defRPr sz="791"/>
            </a:lvl6pPr>
            <a:lvl7pPr marL="1356247" indent="0" algn="ctr">
              <a:buNone/>
              <a:defRPr sz="791"/>
            </a:lvl7pPr>
            <a:lvl8pPr marL="1582288" indent="0" algn="ctr">
              <a:buNone/>
              <a:defRPr sz="791"/>
            </a:lvl8pPr>
            <a:lvl9pPr marL="1808329" indent="0" algn="ctr">
              <a:buNone/>
              <a:defRPr sz="791"/>
            </a:lvl9pPr>
          </a:lstStyle>
          <a:p>
            <a:r>
              <a:rPr lang="en-GB"/>
              <a:t>Click to edit date</a:t>
            </a:r>
            <a:endParaRPr lang="en-US"/>
          </a:p>
        </p:txBody>
      </p:sp>
      <p:sp>
        <p:nvSpPr>
          <p:cNvPr id="10" name="L-shape 7">
            <a:extLst>
              <a:ext uri="{FF2B5EF4-FFF2-40B4-BE49-F238E27FC236}">
                <a16:creationId xmlns:a16="http://schemas.microsoft.com/office/drawing/2014/main" id="{234C7704-2937-C54B-BFAA-98BBEBAE72F0}"/>
              </a:ext>
            </a:extLst>
          </p:cNvPr>
          <p:cNvSpPr/>
          <p:nvPr userDrawn="1"/>
        </p:nvSpPr>
        <p:spPr>
          <a:xfrm rot="10800000">
            <a:off x="10603278" y="977516"/>
            <a:ext cx="703997" cy="691580"/>
          </a:xfrm>
          <a:custGeom>
            <a:avLst/>
            <a:gdLst>
              <a:gd name="connsiteX0" fmla="*/ 0 w 914400"/>
              <a:gd name="connsiteY0" fmla="*/ 0 h 914400"/>
              <a:gd name="connsiteX1" fmla="*/ 4572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3048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68773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00759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12095 w 914400"/>
              <a:gd name="connsiteY1" fmla="*/ 162476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23431 w 914400"/>
              <a:gd name="connsiteY1" fmla="*/ 245603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255679 w 914400"/>
              <a:gd name="connsiteY1" fmla="*/ 294724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3778 w 914400"/>
              <a:gd name="connsiteY0" fmla="*/ 0 h 763260"/>
              <a:gd name="connsiteX1" fmla="*/ 255679 w 914400"/>
              <a:gd name="connsiteY1" fmla="*/ 143584 h 763260"/>
              <a:gd name="connsiteX2" fmla="*/ 457200 w 914400"/>
              <a:gd name="connsiteY2" fmla="*/ 306060 h 763260"/>
              <a:gd name="connsiteX3" fmla="*/ 914400 w 914400"/>
              <a:gd name="connsiteY3" fmla="*/ 306060 h 763260"/>
              <a:gd name="connsiteX4" fmla="*/ 914400 w 914400"/>
              <a:gd name="connsiteY4" fmla="*/ 763260 h 763260"/>
              <a:gd name="connsiteX5" fmla="*/ 0 w 914400"/>
              <a:gd name="connsiteY5" fmla="*/ 763260 h 763260"/>
              <a:gd name="connsiteX6" fmla="*/ 3778 w 914400"/>
              <a:gd name="connsiteY6" fmla="*/ 0 h 763260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457200 w 914400"/>
              <a:gd name="connsiteY2" fmla="*/ 400523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4497 w 914400"/>
              <a:gd name="connsiteY2" fmla="*/ 51010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1828 w 914400"/>
              <a:gd name="connsiteY2" fmla="*/ 58567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9387 w 914400"/>
              <a:gd name="connsiteY2" fmla="*/ 668797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30496 w 914400"/>
              <a:gd name="connsiteY2" fmla="*/ 631012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646129 w 914400"/>
              <a:gd name="connsiteY3" fmla="*/ 623455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68283 w 842611"/>
              <a:gd name="connsiteY2" fmla="*/ 634790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8854 w 842611"/>
              <a:gd name="connsiteY1" fmla="*/ 23169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68011"/>
              <a:gd name="connsiteY0" fmla="*/ 0 h 857723"/>
              <a:gd name="connsiteX1" fmla="*/ 258854 w 868011"/>
              <a:gd name="connsiteY1" fmla="*/ 231697 h 857723"/>
              <a:gd name="connsiteX2" fmla="*/ 256947 w 868011"/>
              <a:gd name="connsiteY2" fmla="*/ 627233 h 857723"/>
              <a:gd name="connsiteX3" fmla="*/ 646129 w 868011"/>
              <a:gd name="connsiteY3" fmla="*/ 623455 h 857723"/>
              <a:gd name="connsiteX4" fmla="*/ 868011 w 868011"/>
              <a:gd name="connsiteY4" fmla="*/ 850770 h 857723"/>
              <a:gd name="connsiteX5" fmla="*/ 0 w 868011"/>
              <a:gd name="connsiteY5" fmla="*/ 857723 h 857723"/>
              <a:gd name="connsiteX6" fmla="*/ 7556 w 868011"/>
              <a:gd name="connsiteY6" fmla="*/ 0 h 857723"/>
              <a:gd name="connsiteX0" fmla="*/ 225 w 870205"/>
              <a:gd name="connsiteY0" fmla="*/ 0 h 860898"/>
              <a:gd name="connsiteX1" fmla="*/ 261048 w 870205"/>
              <a:gd name="connsiteY1" fmla="*/ 234872 h 860898"/>
              <a:gd name="connsiteX2" fmla="*/ 259141 w 870205"/>
              <a:gd name="connsiteY2" fmla="*/ 630408 h 860898"/>
              <a:gd name="connsiteX3" fmla="*/ 648323 w 870205"/>
              <a:gd name="connsiteY3" fmla="*/ 626630 h 860898"/>
              <a:gd name="connsiteX4" fmla="*/ 870205 w 870205"/>
              <a:gd name="connsiteY4" fmla="*/ 853945 h 860898"/>
              <a:gd name="connsiteX5" fmla="*/ 2194 w 870205"/>
              <a:gd name="connsiteY5" fmla="*/ 860898 h 860898"/>
              <a:gd name="connsiteX6" fmla="*/ 225 w 870205"/>
              <a:gd name="connsiteY6" fmla="*/ 0 h 860898"/>
              <a:gd name="connsiteX0" fmla="*/ 226 w 870203"/>
              <a:gd name="connsiteY0" fmla="*/ 0 h 876774"/>
              <a:gd name="connsiteX1" fmla="*/ 261046 w 870203"/>
              <a:gd name="connsiteY1" fmla="*/ 250748 h 876774"/>
              <a:gd name="connsiteX2" fmla="*/ 259139 w 870203"/>
              <a:gd name="connsiteY2" fmla="*/ 646284 h 876774"/>
              <a:gd name="connsiteX3" fmla="*/ 648321 w 870203"/>
              <a:gd name="connsiteY3" fmla="*/ 642506 h 876774"/>
              <a:gd name="connsiteX4" fmla="*/ 870203 w 870203"/>
              <a:gd name="connsiteY4" fmla="*/ 869821 h 876774"/>
              <a:gd name="connsiteX5" fmla="*/ 2192 w 870203"/>
              <a:gd name="connsiteY5" fmla="*/ 876774 h 876774"/>
              <a:gd name="connsiteX6" fmla="*/ 226 w 870203"/>
              <a:gd name="connsiteY6" fmla="*/ 0 h 876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203" h="876774">
                <a:moveTo>
                  <a:pt x="226" y="0"/>
                </a:moveTo>
                <a:lnTo>
                  <a:pt x="261046" y="250748"/>
                </a:lnTo>
                <a:cubicBezTo>
                  <a:pt x="258949" y="394331"/>
                  <a:pt x="252837" y="447912"/>
                  <a:pt x="259139" y="646284"/>
                </a:cubicBezTo>
                <a:lnTo>
                  <a:pt x="648321" y="642506"/>
                </a:lnTo>
                <a:lnTo>
                  <a:pt x="870203" y="869821"/>
                </a:lnTo>
                <a:lnTo>
                  <a:pt x="2192" y="876774"/>
                </a:lnTo>
                <a:cubicBezTo>
                  <a:pt x="3451" y="622354"/>
                  <a:pt x="-1033" y="254420"/>
                  <a:pt x="226" y="0"/>
                </a:cubicBezTo>
                <a:close/>
              </a:path>
            </a:pathLst>
          </a:custGeom>
          <a:solidFill>
            <a:srgbClr val="FF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LU" sz="1315"/>
              <a:t> </a:t>
            </a:r>
          </a:p>
        </p:txBody>
      </p:sp>
      <p:sp>
        <p:nvSpPr>
          <p:cNvPr id="11" name="L-shape 7">
            <a:extLst>
              <a:ext uri="{FF2B5EF4-FFF2-40B4-BE49-F238E27FC236}">
                <a16:creationId xmlns:a16="http://schemas.microsoft.com/office/drawing/2014/main" id="{A9D06A2D-BC3C-9340-BB57-ECA8CB6498AF}"/>
              </a:ext>
            </a:extLst>
          </p:cNvPr>
          <p:cNvSpPr/>
          <p:nvPr userDrawn="1"/>
        </p:nvSpPr>
        <p:spPr>
          <a:xfrm rot="10800000">
            <a:off x="10274311" y="1320765"/>
            <a:ext cx="703997" cy="691580"/>
          </a:xfrm>
          <a:custGeom>
            <a:avLst/>
            <a:gdLst>
              <a:gd name="connsiteX0" fmla="*/ 0 w 914400"/>
              <a:gd name="connsiteY0" fmla="*/ 0 h 914400"/>
              <a:gd name="connsiteX1" fmla="*/ 4572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3048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68773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00759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12095 w 914400"/>
              <a:gd name="connsiteY1" fmla="*/ 162476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23431 w 914400"/>
              <a:gd name="connsiteY1" fmla="*/ 245603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255679 w 914400"/>
              <a:gd name="connsiteY1" fmla="*/ 294724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3778 w 914400"/>
              <a:gd name="connsiteY0" fmla="*/ 0 h 763260"/>
              <a:gd name="connsiteX1" fmla="*/ 255679 w 914400"/>
              <a:gd name="connsiteY1" fmla="*/ 143584 h 763260"/>
              <a:gd name="connsiteX2" fmla="*/ 457200 w 914400"/>
              <a:gd name="connsiteY2" fmla="*/ 306060 h 763260"/>
              <a:gd name="connsiteX3" fmla="*/ 914400 w 914400"/>
              <a:gd name="connsiteY3" fmla="*/ 306060 h 763260"/>
              <a:gd name="connsiteX4" fmla="*/ 914400 w 914400"/>
              <a:gd name="connsiteY4" fmla="*/ 763260 h 763260"/>
              <a:gd name="connsiteX5" fmla="*/ 0 w 914400"/>
              <a:gd name="connsiteY5" fmla="*/ 763260 h 763260"/>
              <a:gd name="connsiteX6" fmla="*/ 3778 w 914400"/>
              <a:gd name="connsiteY6" fmla="*/ 0 h 763260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457200 w 914400"/>
              <a:gd name="connsiteY2" fmla="*/ 400523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4497 w 914400"/>
              <a:gd name="connsiteY2" fmla="*/ 51010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1828 w 914400"/>
              <a:gd name="connsiteY2" fmla="*/ 58567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9387 w 914400"/>
              <a:gd name="connsiteY2" fmla="*/ 668797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30496 w 914400"/>
              <a:gd name="connsiteY2" fmla="*/ 631012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646129 w 914400"/>
              <a:gd name="connsiteY3" fmla="*/ 623455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68283 w 842611"/>
              <a:gd name="connsiteY2" fmla="*/ 634790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8854 w 842611"/>
              <a:gd name="connsiteY1" fmla="*/ 23169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68011"/>
              <a:gd name="connsiteY0" fmla="*/ 0 h 857723"/>
              <a:gd name="connsiteX1" fmla="*/ 258854 w 868011"/>
              <a:gd name="connsiteY1" fmla="*/ 231697 h 857723"/>
              <a:gd name="connsiteX2" fmla="*/ 256947 w 868011"/>
              <a:gd name="connsiteY2" fmla="*/ 627233 h 857723"/>
              <a:gd name="connsiteX3" fmla="*/ 646129 w 868011"/>
              <a:gd name="connsiteY3" fmla="*/ 623455 h 857723"/>
              <a:gd name="connsiteX4" fmla="*/ 868011 w 868011"/>
              <a:gd name="connsiteY4" fmla="*/ 850770 h 857723"/>
              <a:gd name="connsiteX5" fmla="*/ 0 w 868011"/>
              <a:gd name="connsiteY5" fmla="*/ 857723 h 857723"/>
              <a:gd name="connsiteX6" fmla="*/ 7556 w 868011"/>
              <a:gd name="connsiteY6" fmla="*/ 0 h 857723"/>
              <a:gd name="connsiteX0" fmla="*/ 225 w 870205"/>
              <a:gd name="connsiteY0" fmla="*/ 0 h 860898"/>
              <a:gd name="connsiteX1" fmla="*/ 261048 w 870205"/>
              <a:gd name="connsiteY1" fmla="*/ 234872 h 860898"/>
              <a:gd name="connsiteX2" fmla="*/ 259141 w 870205"/>
              <a:gd name="connsiteY2" fmla="*/ 630408 h 860898"/>
              <a:gd name="connsiteX3" fmla="*/ 648323 w 870205"/>
              <a:gd name="connsiteY3" fmla="*/ 626630 h 860898"/>
              <a:gd name="connsiteX4" fmla="*/ 870205 w 870205"/>
              <a:gd name="connsiteY4" fmla="*/ 853945 h 860898"/>
              <a:gd name="connsiteX5" fmla="*/ 2194 w 870205"/>
              <a:gd name="connsiteY5" fmla="*/ 860898 h 860898"/>
              <a:gd name="connsiteX6" fmla="*/ 225 w 870205"/>
              <a:gd name="connsiteY6" fmla="*/ 0 h 860898"/>
              <a:gd name="connsiteX0" fmla="*/ 226 w 870203"/>
              <a:gd name="connsiteY0" fmla="*/ 0 h 876774"/>
              <a:gd name="connsiteX1" fmla="*/ 261046 w 870203"/>
              <a:gd name="connsiteY1" fmla="*/ 250748 h 876774"/>
              <a:gd name="connsiteX2" fmla="*/ 259139 w 870203"/>
              <a:gd name="connsiteY2" fmla="*/ 646284 h 876774"/>
              <a:gd name="connsiteX3" fmla="*/ 648321 w 870203"/>
              <a:gd name="connsiteY3" fmla="*/ 642506 h 876774"/>
              <a:gd name="connsiteX4" fmla="*/ 870203 w 870203"/>
              <a:gd name="connsiteY4" fmla="*/ 869821 h 876774"/>
              <a:gd name="connsiteX5" fmla="*/ 2192 w 870203"/>
              <a:gd name="connsiteY5" fmla="*/ 876774 h 876774"/>
              <a:gd name="connsiteX6" fmla="*/ 226 w 870203"/>
              <a:gd name="connsiteY6" fmla="*/ 0 h 876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203" h="876774">
                <a:moveTo>
                  <a:pt x="226" y="0"/>
                </a:moveTo>
                <a:lnTo>
                  <a:pt x="261046" y="250748"/>
                </a:lnTo>
                <a:cubicBezTo>
                  <a:pt x="258949" y="394331"/>
                  <a:pt x="252837" y="447912"/>
                  <a:pt x="259139" y="646284"/>
                </a:cubicBezTo>
                <a:lnTo>
                  <a:pt x="648321" y="642506"/>
                </a:lnTo>
                <a:lnTo>
                  <a:pt x="870203" y="869821"/>
                </a:lnTo>
                <a:lnTo>
                  <a:pt x="2192" y="876774"/>
                </a:lnTo>
                <a:cubicBezTo>
                  <a:pt x="3451" y="622354"/>
                  <a:pt x="-1033" y="254420"/>
                  <a:pt x="226" y="0"/>
                </a:cubicBezTo>
                <a:close/>
              </a:path>
            </a:pathLst>
          </a:custGeom>
          <a:solidFill>
            <a:srgbClr val="FF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LU" sz="1315"/>
              <a:t> </a:t>
            </a:r>
          </a:p>
        </p:txBody>
      </p:sp>
      <p:sp>
        <p:nvSpPr>
          <p:cNvPr id="12" name="L-shape 7">
            <a:extLst>
              <a:ext uri="{FF2B5EF4-FFF2-40B4-BE49-F238E27FC236}">
                <a16:creationId xmlns:a16="http://schemas.microsoft.com/office/drawing/2014/main" id="{A5EF4BD2-C103-2848-A910-D0B00C8F3F2B}"/>
              </a:ext>
            </a:extLst>
          </p:cNvPr>
          <p:cNvSpPr/>
          <p:nvPr userDrawn="1"/>
        </p:nvSpPr>
        <p:spPr>
          <a:xfrm rot="16200000">
            <a:off x="10623821" y="5284532"/>
            <a:ext cx="1230785" cy="1271873"/>
          </a:xfrm>
          <a:custGeom>
            <a:avLst/>
            <a:gdLst>
              <a:gd name="connsiteX0" fmla="*/ 0 w 914400"/>
              <a:gd name="connsiteY0" fmla="*/ 0 h 914400"/>
              <a:gd name="connsiteX1" fmla="*/ 4572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3048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68773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00759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12095 w 914400"/>
              <a:gd name="connsiteY1" fmla="*/ 162476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23431 w 914400"/>
              <a:gd name="connsiteY1" fmla="*/ 245603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255679 w 914400"/>
              <a:gd name="connsiteY1" fmla="*/ 294724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3778 w 914400"/>
              <a:gd name="connsiteY0" fmla="*/ 0 h 763260"/>
              <a:gd name="connsiteX1" fmla="*/ 255679 w 914400"/>
              <a:gd name="connsiteY1" fmla="*/ 143584 h 763260"/>
              <a:gd name="connsiteX2" fmla="*/ 457200 w 914400"/>
              <a:gd name="connsiteY2" fmla="*/ 306060 h 763260"/>
              <a:gd name="connsiteX3" fmla="*/ 914400 w 914400"/>
              <a:gd name="connsiteY3" fmla="*/ 306060 h 763260"/>
              <a:gd name="connsiteX4" fmla="*/ 914400 w 914400"/>
              <a:gd name="connsiteY4" fmla="*/ 763260 h 763260"/>
              <a:gd name="connsiteX5" fmla="*/ 0 w 914400"/>
              <a:gd name="connsiteY5" fmla="*/ 763260 h 763260"/>
              <a:gd name="connsiteX6" fmla="*/ 3778 w 914400"/>
              <a:gd name="connsiteY6" fmla="*/ 0 h 763260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457200 w 914400"/>
              <a:gd name="connsiteY2" fmla="*/ 400523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4497 w 914400"/>
              <a:gd name="connsiteY2" fmla="*/ 51010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1828 w 914400"/>
              <a:gd name="connsiteY2" fmla="*/ 58567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9387 w 914400"/>
              <a:gd name="connsiteY2" fmla="*/ 668797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30496 w 914400"/>
              <a:gd name="connsiteY2" fmla="*/ 631012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646129 w 914400"/>
              <a:gd name="connsiteY3" fmla="*/ 623455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68283 w 842611"/>
              <a:gd name="connsiteY2" fmla="*/ 634790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8854 w 842611"/>
              <a:gd name="connsiteY1" fmla="*/ 23169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68011"/>
              <a:gd name="connsiteY0" fmla="*/ 0 h 857723"/>
              <a:gd name="connsiteX1" fmla="*/ 258854 w 868011"/>
              <a:gd name="connsiteY1" fmla="*/ 231697 h 857723"/>
              <a:gd name="connsiteX2" fmla="*/ 256947 w 868011"/>
              <a:gd name="connsiteY2" fmla="*/ 627233 h 857723"/>
              <a:gd name="connsiteX3" fmla="*/ 646129 w 868011"/>
              <a:gd name="connsiteY3" fmla="*/ 623455 h 857723"/>
              <a:gd name="connsiteX4" fmla="*/ 868011 w 868011"/>
              <a:gd name="connsiteY4" fmla="*/ 850770 h 857723"/>
              <a:gd name="connsiteX5" fmla="*/ 0 w 868011"/>
              <a:gd name="connsiteY5" fmla="*/ 857723 h 857723"/>
              <a:gd name="connsiteX6" fmla="*/ 7556 w 868011"/>
              <a:gd name="connsiteY6" fmla="*/ 0 h 857723"/>
              <a:gd name="connsiteX0" fmla="*/ 225 w 870205"/>
              <a:gd name="connsiteY0" fmla="*/ 0 h 860898"/>
              <a:gd name="connsiteX1" fmla="*/ 261048 w 870205"/>
              <a:gd name="connsiteY1" fmla="*/ 234872 h 860898"/>
              <a:gd name="connsiteX2" fmla="*/ 259141 w 870205"/>
              <a:gd name="connsiteY2" fmla="*/ 630408 h 860898"/>
              <a:gd name="connsiteX3" fmla="*/ 648323 w 870205"/>
              <a:gd name="connsiteY3" fmla="*/ 626630 h 860898"/>
              <a:gd name="connsiteX4" fmla="*/ 870205 w 870205"/>
              <a:gd name="connsiteY4" fmla="*/ 853945 h 860898"/>
              <a:gd name="connsiteX5" fmla="*/ 2194 w 870205"/>
              <a:gd name="connsiteY5" fmla="*/ 860898 h 860898"/>
              <a:gd name="connsiteX6" fmla="*/ 225 w 870205"/>
              <a:gd name="connsiteY6" fmla="*/ 0 h 860898"/>
              <a:gd name="connsiteX0" fmla="*/ 226 w 870203"/>
              <a:gd name="connsiteY0" fmla="*/ 0 h 876774"/>
              <a:gd name="connsiteX1" fmla="*/ 261046 w 870203"/>
              <a:gd name="connsiteY1" fmla="*/ 250748 h 876774"/>
              <a:gd name="connsiteX2" fmla="*/ 259139 w 870203"/>
              <a:gd name="connsiteY2" fmla="*/ 646284 h 876774"/>
              <a:gd name="connsiteX3" fmla="*/ 648321 w 870203"/>
              <a:gd name="connsiteY3" fmla="*/ 642506 h 876774"/>
              <a:gd name="connsiteX4" fmla="*/ 870203 w 870203"/>
              <a:gd name="connsiteY4" fmla="*/ 869821 h 876774"/>
              <a:gd name="connsiteX5" fmla="*/ 2192 w 870203"/>
              <a:gd name="connsiteY5" fmla="*/ 876774 h 876774"/>
              <a:gd name="connsiteX6" fmla="*/ 226 w 870203"/>
              <a:gd name="connsiteY6" fmla="*/ 0 h 876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203" h="876774">
                <a:moveTo>
                  <a:pt x="226" y="0"/>
                </a:moveTo>
                <a:lnTo>
                  <a:pt x="261046" y="250748"/>
                </a:lnTo>
                <a:cubicBezTo>
                  <a:pt x="258949" y="394331"/>
                  <a:pt x="252837" y="447912"/>
                  <a:pt x="259139" y="646284"/>
                </a:cubicBezTo>
                <a:lnTo>
                  <a:pt x="648321" y="642506"/>
                </a:lnTo>
                <a:lnTo>
                  <a:pt x="870203" y="869821"/>
                </a:lnTo>
                <a:lnTo>
                  <a:pt x="2192" y="876774"/>
                </a:lnTo>
                <a:cubicBezTo>
                  <a:pt x="3451" y="622354"/>
                  <a:pt x="-1033" y="254420"/>
                  <a:pt x="226" y="0"/>
                </a:cubicBezTo>
                <a:close/>
              </a:path>
            </a:pathLst>
          </a:custGeom>
          <a:solidFill>
            <a:srgbClr val="DC51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LU" sz="1315"/>
              <a:t> </a:t>
            </a:r>
          </a:p>
        </p:txBody>
      </p:sp>
      <p:sp>
        <p:nvSpPr>
          <p:cNvPr id="13" name="L-shape 7">
            <a:extLst>
              <a:ext uri="{FF2B5EF4-FFF2-40B4-BE49-F238E27FC236}">
                <a16:creationId xmlns:a16="http://schemas.microsoft.com/office/drawing/2014/main" id="{4AFB8CA6-3E70-D64C-9116-7B770466511B}"/>
              </a:ext>
            </a:extLst>
          </p:cNvPr>
          <p:cNvSpPr/>
          <p:nvPr userDrawn="1"/>
        </p:nvSpPr>
        <p:spPr>
          <a:xfrm rot="13486077">
            <a:off x="4038875" y="5037385"/>
            <a:ext cx="320369" cy="314720"/>
          </a:xfrm>
          <a:custGeom>
            <a:avLst/>
            <a:gdLst>
              <a:gd name="connsiteX0" fmla="*/ 0 w 914400"/>
              <a:gd name="connsiteY0" fmla="*/ 0 h 914400"/>
              <a:gd name="connsiteX1" fmla="*/ 4572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3048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68773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00759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12095 w 914400"/>
              <a:gd name="connsiteY1" fmla="*/ 162476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23431 w 914400"/>
              <a:gd name="connsiteY1" fmla="*/ 245603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255679 w 914400"/>
              <a:gd name="connsiteY1" fmla="*/ 294724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3778 w 914400"/>
              <a:gd name="connsiteY0" fmla="*/ 0 h 763260"/>
              <a:gd name="connsiteX1" fmla="*/ 255679 w 914400"/>
              <a:gd name="connsiteY1" fmla="*/ 143584 h 763260"/>
              <a:gd name="connsiteX2" fmla="*/ 457200 w 914400"/>
              <a:gd name="connsiteY2" fmla="*/ 306060 h 763260"/>
              <a:gd name="connsiteX3" fmla="*/ 914400 w 914400"/>
              <a:gd name="connsiteY3" fmla="*/ 306060 h 763260"/>
              <a:gd name="connsiteX4" fmla="*/ 914400 w 914400"/>
              <a:gd name="connsiteY4" fmla="*/ 763260 h 763260"/>
              <a:gd name="connsiteX5" fmla="*/ 0 w 914400"/>
              <a:gd name="connsiteY5" fmla="*/ 763260 h 763260"/>
              <a:gd name="connsiteX6" fmla="*/ 3778 w 914400"/>
              <a:gd name="connsiteY6" fmla="*/ 0 h 763260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457200 w 914400"/>
              <a:gd name="connsiteY2" fmla="*/ 400523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4497 w 914400"/>
              <a:gd name="connsiteY2" fmla="*/ 51010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1828 w 914400"/>
              <a:gd name="connsiteY2" fmla="*/ 58567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9387 w 914400"/>
              <a:gd name="connsiteY2" fmla="*/ 668797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30496 w 914400"/>
              <a:gd name="connsiteY2" fmla="*/ 631012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646129 w 914400"/>
              <a:gd name="connsiteY3" fmla="*/ 623455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68283 w 842611"/>
              <a:gd name="connsiteY2" fmla="*/ 634790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8854 w 842611"/>
              <a:gd name="connsiteY1" fmla="*/ 23169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68011"/>
              <a:gd name="connsiteY0" fmla="*/ 0 h 857723"/>
              <a:gd name="connsiteX1" fmla="*/ 258854 w 868011"/>
              <a:gd name="connsiteY1" fmla="*/ 231697 h 857723"/>
              <a:gd name="connsiteX2" fmla="*/ 256947 w 868011"/>
              <a:gd name="connsiteY2" fmla="*/ 627233 h 857723"/>
              <a:gd name="connsiteX3" fmla="*/ 646129 w 868011"/>
              <a:gd name="connsiteY3" fmla="*/ 623455 h 857723"/>
              <a:gd name="connsiteX4" fmla="*/ 868011 w 868011"/>
              <a:gd name="connsiteY4" fmla="*/ 850770 h 857723"/>
              <a:gd name="connsiteX5" fmla="*/ 0 w 868011"/>
              <a:gd name="connsiteY5" fmla="*/ 857723 h 857723"/>
              <a:gd name="connsiteX6" fmla="*/ 7556 w 868011"/>
              <a:gd name="connsiteY6" fmla="*/ 0 h 857723"/>
              <a:gd name="connsiteX0" fmla="*/ 225 w 870205"/>
              <a:gd name="connsiteY0" fmla="*/ 0 h 860898"/>
              <a:gd name="connsiteX1" fmla="*/ 261048 w 870205"/>
              <a:gd name="connsiteY1" fmla="*/ 234872 h 860898"/>
              <a:gd name="connsiteX2" fmla="*/ 259141 w 870205"/>
              <a:gd name="connsiteY2" fmla="*/ 630408 h 860898"/>
              <a:gd name="connsiteX3" fmla="*/ 648323 w 870205"/>
              <a:gd name="connsiteY3" fmla="*/ 626630 h 860898"/>
              <a:gd name="connsiteX4" fmla="*/ 870205 w 870205"/>
              <a:gd name="connsiteY4" fmla="*/ 853945 h 860898"/>
              <a:gd name="connsiteX5" fmla="*/ 2194 w 870205"/>
              <a:gd name="connsiteY5" fmla="*/ 860898 h 860898"/>
              <a:gd name="connsiteX6" fmla="*/ 225 w 870205"/>
              <a:gd name="connsiteY6" fmla="*/ 0 h 860898"/>
              <a:gd name="connsiteX0" fmla="*/ 226 w 870203"/>
              <a:gd name="connsiteY0" fmla="*/ 0 h 876774"/>
              <a:gd name="connsiteX1" fmla="*/ 261046 w 870203"/>
              <a:gd name="connsiteY1" fmla="*/ 250748 h 876774"/>
              <a:gd name="connsiteX2" fmla="*/ 259139 w 870203"/>
              <a:gd name="connsiteY2" fmla="*/ 646284 h 876774"/>
              <a:gd name="connsiteX3" fmla="*/ 648321 w 870203"/>
              <a:gd name="connsiteY3" fmla="*/ 642506 h 876774"/>
              <a:gd name="connsiteX4" fmla="*/ 870203 w 870203"/>
              <a:gd name="connsiteY4" fmla="*/ 869821 h 876774"/>
              <a:gd name="connsiteX5" fmla="*/ 2192 w 870203"/>
              <a:gd name="connsiteY5" fmla="*/ 876774 h 876774"/>
              <a:gd name="connsiteX6" fmla="*/ 226 w 870203"/>
              <a:gd name="connsiteY6" fmla="*/ 0 h 876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203" h="876774">
                <a:moveTo>
                  <a:pt x="226" y="0"/>
                </a:moveTo>
                <a:lnTo>
                  <a:pt x="261046" y="250748"/>
                </a:lnTo>
                <a:cubicBezTo>
                  <a:pt x="258949" y="394331"/>
                  <a:pt x="252837" y="447912"/>
                  <a:pt x="259139" y="646284"/>
                </a:cubicBezTo>
                <a:lnTo>
                  <a:pt x="648321" y="642506"/>
                </a:lnTo>
                <a:lnTo>
                  <a:pt x="870203" y="869821"/>
                </a:lnTo>
                <a:lnTo>
                  <a:pt x="2192" y="876774"/>
                </a:lnTo>
                <a:cubicBezTo>
                  <a:pt x="3451" y="622354"/>
                  <a:pt x="-1033" y="254420"/>
                  <a:pt x="226" y="0"/>
                </a:cubicBezTo>
                <a:close/>
              </a:path>
            </a:pathLst>
          </a:custGeom>
          <a:solidFill>
            <a:srgbClr val="DC51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LU" sz="1315"/>
              <a:t> </a:t>
            </a:r>
          </a:p>
        </p:txBody>
      </p:sp>
      <p:sp>
        <p:nvSpPr>
          <p:cNvPr id="14" name="L-shape 7">
            <a:extLst>
              <a:ext uri="{FF2B5EF4-FFF2-40B4-BE49-F238E27FC236}">
                <a16:creationId xmlns:a16="http://schemas.microsoft.com/office/drawing/2014/main" id="{9879696A-C168-2344-9CC7-6157715829F1}"/>
              </a:ext>
            </a:extLst>
          </p:cNvPr>
          <p:cNvSpPr/>
          <p:nvPr userDrawn="1"/>
        </p:nvSpPr>
        <p:spPr>
          <a:xfrm rot="13486077">
            <a:off x="4038875" y="5622601"/>
            <a:ext cx="320369" cy="314720"/>
          </a:xfrm>
          <a:custGeom>
            <a:avLst/>
            <a:gdLst>
              <a:gd name="connsiteX0" fmla="*/ 0 w 914400"/>
              <a:gd name="connsiteY0" fmla="*/ 0 h 914400"/>
              <a:gd name="connsiteX1" fmla="*/ 4572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3048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68773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00759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12095 w 914400"/>
              <a:gd name="connsiteY1" fmla="*/ 162476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23431 w 914400"/>
              <a:gd name="connsiteY1" fmla="*/ 245603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255679 w 914400"/>
              <a:gd name="connsiteY1" fmla="*/ 294724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3778 w 914400"/>
              <a:gd name="connsiteY0" fmla="*/ 0 h 763260"/>
              <a:gd name="connsiteX1" fmla="*/ 255679 w 914400"/>
              <a:gd name="connsiteY1" fmla="*/ 143584 h 763260"/>
              <a:gd name="connsiteX2" fmla="*/ 457200 w 914400"/>
              <a:gd name="connsiteY2" fmla="*/ 306060 h 763260"/>
              <a:gd name="connsiteX3" fmla="*/ 914400 w 914400"/>
              <a:gd name="connsiteY3" fmla="*/ 306060 h 763260"/>
              <a:gd name="connsiteX4" fmla="*/ 914400 w 914400"/>
              <a:gd name="connsiteY4" fmla="*/ 763260 h 763260"/>
              <a:gd name="connsiteX5" fmla="*/ 0 w 914400"/>
              <a:gd name="connsiteY5" fmla="*/ 763260 h 763260"/>
              <a:gd name="connsiteX6" fmla="*/ 3778 w 914400"/>
              <a:gd name="connsiteY6" fmla="*/ 0 h 763260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457200 w 914400"/>
              <a:gd name="connsiteY2" fmla="*/ 400523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4497 w 914400"/>
              <a:gd name="connsiteY2" fmla="*/ 51010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1828 w 914400"/>
              <a:gd name="connsiteY2" fmla="*/ 58567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9387 w 914400"/>
              <a:gd name="connsiteY2" fmla="*/ 668797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30496 w 914400"/>
              <a:gd name="connsiteY2" fmla="*/ 631012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646129 w 914400"/>
              <a:gd name="connsiteY3" fmla="*/ 623455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68283 w 842611"/>
              <a:gd name="connsiteY2" fmla="*/ 634790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8854 w 842611"/>
              <a:gd name="connsiteY1" fmla="*/ 23169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68011"/>
              <a:gd name="connsiteY0" fmla="*/ 0 h 857723"/>
              <a:gd name="connsiteX1" fmla="*/ 258854 w 868011"/>
              <a:gd name="connsiteY1" fmla="*/ 231697 h 857723"/>
              <a:gd name="connsiteX2" fmla="*/ 256947 w 868011"/>
              <a:gd name="connsiteY2" fmla="*/ 627233 h 857723"/>
              <a:gd name="connsiteX3" fmla="*/ 646129 w 868011"/>
              <a:gd name="connsiteY3" fmla="*/ 623455 h 857723"/>
              <a:gd name="connsiteX4" fmla="*/ 868011 w 868011"/>
              <a:gd name="connsiteY4" fmla="*/ 850770 h 857723"/>
              <a:gd name="connsiteX5" fmla="*/ 0 w 868011"/>
              <a:gd name="connsiteY5" fmla="*/ 857723 h 857723"/>
              <a:gd name="connsiteX6" fmla="*/ 7556 w 868011"/>
              <a:gd name="connsiteY6" fmla="*/ 0 h 857723"/>
              <a:gd name="connsiteX0" fmla="*/ 225 w 870205"/>
              <a:gd name="connsiteY0" fmla="*/ 0 h 860898"/>
              <a:gd name="connsiteX1" fmla="*/ 261048 w 870205"/>
              <a:gd name="connsiteY1" fmla="*/ 234872 h 860898"/>
              <a:gd name="connsiteX2" fmla="*/ 259141 w 870205"/>
              <a:gd name="connsiteY2" fmla="*/ 630408 h 860898"/>
              <a:gd name="connsiteX3" fmla="*/ 648323 w 870205"/>
              <a:gd name="connsiteY3" fmla="*/ 626630 h 860898"/>
              <a:gd name="connsiteX4" fmla="*/ 870205 w 870205"/>
              <a:gd name="connsiteY4" fmla="*/ 853945 h 860898"/>
              <a:gd name="connsiteX5" fmla="*/ 2194 w 870205"/>
              <a:gd name="connsiteY5" fmla="*/ 860898 h 860898"/>
              <a:gd name="connsiteX6" fmla="*/ 225 w 870205"/>
              <a:gd name="connsiteY6" fmla="*/ 0 h 860898"/>
              <a:gd name="connsiteX0" fmla="*/ 226 w 870203"/>
              <a:gd name="connsiteY0" fmla="*/ 0 h 876774"/>
              <a:gd name="connsiteX1" fmla="*/ 261046 w 870203"/>
              <a:gd name="connsiteY1" fmla="*/ 250748 h 876774"/>
              <a:gd name="connsiteX2" fmla="*/ 259139 w 870203"/>
              <a:gd name="connsiteY2" fmla="*/ 646284 h 876774"/>
              <a:gd name="connsiteX3" fmla="*/ 648321 w 870203"/>
              <a:gd name="connsiteY3" fmla="*/ 642506 h 876774"/>
              <a:gd name="connsiteX4" fmla="*/ 870203 w 870203"/>
              <a:gd name="connsiteY4" fmla="*/ 869821 h 876774"/>
              <a:gd name="connsiteX5" fmla="*/ 2192 w 870203"/>
              <a:gd name="connsiteY5" fmla="*/ 876774 h 876774"/>
              <a:gd name="connsiteX6" fmla="*/ 226 w 870203"/>
              <a:gd name="connsiteY6" fmla="*/ 0 h 876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203" h="876774">
                <a:moveTo>
                  <a:pt x="226" y="0"/>
                </a:moveTo>
                <a:lnTo>
                  <a:pt x="261046" y="250748"/>
                </a:lnTo>
                <a:cubicBezTo>
                  <a:pt x="258949" y="394331"/>
                  <a:pt x="252837" y="447912"/>
                  <a:pt x="259139" y="646284"/>
                </a:cubicBezTo>
                <a:lnTo>
                  <a:pt x="648321" y="642506"/>
                </a:lnTo>
                <a:lnTo>
                  <a:pt x="870203" y="869821"/>
                </a:lnTo>
                <a:lnTo>
                  <a:pt x="2192" y="876774"/>
                </a:lnTo>
                <a:cubicBezTo>
                  <a:pt x="3451" y="622354"/>
                  <a:pt x="-1033" y="254420"/>
                  <a:pt x="226" y="0"/>
                </a:cubicBezTo>
                <a:close/>
              </a:path>
            </a:pathLst>
          </a:custGeom>
          <a:solidFill>
            <a:srgbClr val="DC51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LU" sz="1315"/>
              <a:t> </a:t>
            </a:r>
          </a:p>
        </p:txBody>
      </p:sp>
      <p:sp>
        <p:nvSpPr>
          <p:cNvPr id="15" name="L-shape 7">
            <a:extLst>
              <a:ext uri="{FF2B5EF4-FFF2-40B4-BE49-F238E27FC236}">
                <a16:creationId xmlns:a16="http://schemas.microsoft.com/office/drawing/2014/main" id="{B4ED8611-7D01-6347-8AD3-DE51A6961941}"/>
              </a:ext>
            </a:extLst>
          </p:cNvPr>
          <p:cNvSpPr/>
          <p:nvPr userDrawn="1"/>
        </p:nvSpPr>
        <p:spPr>
          <a:xfrm>
            <a:off x="2356367" y="5334578"/>
            <a:ext cx="703997" cy="691580"/>
          </a:xfrm>
          <a:custGeom>
            <a:avLst/>
            <a:gdLst>
              <a:gd name="connsiteX0" fmla="*/ 0 w 914400"/>
              <a:gd name="connsiteY0" fmla="*/ 0 h 914400"/>
              <a:gd name="connsiteX1" fmla="*/ 4572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3048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68773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00759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12095 w 914400"/>
              <a:gd name="connsiteY1" fmla="*/ 162476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23431 w 914400"/>
              <a:gd name="connsiteY1" fmla="*/ 245603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255679 w 914400"/>
              <a:gd name="connsiteY1" fmla="*/ 294724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3778 w 914400"/>
              <a:gd name="connsiteY0" fmla="*/ 0 h 763260"/>
              <a:gd name="connsiteX1" fmla="*/ 255679 w 914400"/>
              <a:gd name="connsiteY1" fmla="*/ 143584 h 763260"/>
              <a:gd name="connsiteX2" fmla="*/ 457200 w 914400"/>
              <a:gd name="connsiteY2" fmla="*/ 306060 h 763260"/>
              <a:gd name="connsiteX3" fmla="*/ 914400 w 914400"/>
              <a:gd name="connsiteY3" fmla="*/ 306060 h 763260"/>
              <a:gd name="connsiteX4" fmla="*/ 914400 w 914400"/>
              <a:gd name="connsiteY4" fmla="*/ 763260 h 763260"/>
              <a:gd name="connsiteX5" fmla="*/ 0 w 914400"/>
              <a:gd name="connsiteY5" fmla="*/ 763260 h 763260"/>
              <a:gd name="connsiteX6" fmla="*/ 3778 w 914400"/>
              <a:gd name="connsiteY6" fmla="*/ 0 h 763260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457200 w 914400"/>
              <a:gd name="connsiteY2" fmla="*/ 400523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4497 w 914400"/>
              <a:gd name="connsiteY2" fmla="*/ 51010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1828 w 914400"/>
              <a:gd name="connsiteY2" fmla="*/ 58567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9387 w 914400"/>
              <a:gd name="connsiteY2" fmla="*/ 668797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30496 w 914400"/>
              <a:gd name="connsiteY2" fmla="*/ 631012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646129 w 914400"/>
              <a:gd name="connsiteY3" fmla="*/ 623455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68283 w 842611"/>
              <a:gd name="connsiteY2" fmla="*/ 634790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8854 w 842611"/>
              <a:gd name="connsiteY1" fmla="*/ 23169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68011"/>
              <a:gd name="connsiteY0" fmla="*/ 0 h 857723"/>
              <a:gd name="connsiteX1" fmla="*/ 258854 w 868011"/>
              <a:gd name="connsiteY1" fmla="*/ 231697 h 857723"/>
              <a:gd name="connsiteX2" fmla="*/ 256947 w 868011"/>
              <a:gd name="connsiteY2" fmla="*/ 627233 h 857723"/>
              <a:gd name="connsiteX3" fmla="*/ 646129 w 868011"/>
              <a:gd name="connsiteY3" fmla="*/ 623455 h 857723"/>
              <a:gd name="connsiteX4" fmla="*/ 868011 w 868011"/>
              <a:gd name="connsiteY4" fmla="*/ 850770 h 857723"/>
              <a:gd name="connsiteX5" fmla="*/ 0 w 868011"/>
              <a:gd name="connsiteY5" fmla="*/ 857723 h 857723"/>
              <a:gd name="connsiteX6" fmla="*/ 7556 w 868011"/>
              <a:gd name="connsiteY6" fmla="*/ 0 h 857723"/>
              <a:gd name="connsiteX0" fmla="*/ 225 w 870205"/>
              <a:gd name="connsiteY0" fmla="*/ 0 h 860898"/>
              <a:gd name="connsiteX1" fmla="*/ 261048 w 870205"/>
              <a:gd name="connsiteY1" fmla="*/ 234872 h 860898"/>
              <a:gd name="connsiteX2" fmla="*/ 259141 w 870205"/>
              <a:gd name="connsiteY2" fmla="*/ 630408 h 860898"/>
              <a:gd name="connsiteX3" fmla="*/ 648323 w 870205"/>
              <a:gd name="connsiteY3" fmla="*/ 626630 h 860898"/>
              <a:gd name="connsiteX4" fmla="*/ 870205 w 870205"/>
              <a:gd name="connsiteY4" fmla="*/ 853945 h 860898"/>
              <a:gd name="connsiteX5" fmla="*/ 2194 w 870205"/>
              <a:gd name="connsiteY5" fmla="*/ 860898 h 860898"/>
              <a:gd name="connsiteX6" fmla="*/ 225 w 870205"/>
              <a:gd name="connsiteY6" fmla="*/ 0 h 860898"/>
              <a:gd name="connsiteX0" fmla="*/ 226 w 870203"/>
              <a:gd name="connsiteY0" fmla="*/ 0 h 876774"/>
              <a:gd name="connsiteX1" fmla="*/ 261046 w 870203"/>
              <a:gd name="connsiteY1" fmla="*/ 250748 h 876774"/>
              <a:gd name="connsiteX2" fmla="*/ 259139 w 870203"/>
              <a:gd name="connsiteY2" fmla="*/ 646284 h 876774"/>
              <a:gd name="connsiteX3" fmla="*/ 648321 w 870203"/>
              <a:gd name="connsiteY3" fmla="*/ 642506 h 876774"/>
              <a:gd name="connsiteX4" fmla="*/ 870203 w 870203"/>
              <a:gd name="connsiteY4" fmla="*/ 869821 h 876774"/>
              <a:gd name="connsiteX5" fmla="*/ 2192 w 870203"/>
              <a:gd name="connsiteY5" fmla="*/ 876774 h 876774"/>
              <a:gd name="connsiteX6" fmla="*/ 226 w 870203"/>
              <a:gd name="connsiteY6" fmla="*/ 0 h 876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203" h="876774">
                <a:moveTo>
                  <a:pt x="226" y="0"/>
                </a:moveTo>
                <a:lnTo>
                  <a:pt x="261046" y="250748"/>
                </a:lnTo>
                <a:cubicBezTo>
                  <a:pt x="258949" y="394331"/>
                  <a:pt x="252837" y="447912"/>
                  <a:pt x="259139" y="646284"/>
                </a:cubicBezTo>
                <a:lnTo>
                  <a:pt x="648321" y="642506"/>
                </a:lnTo>
                <a:lnTo>
                  <a:pt x="870203" y="869821"/>
                </a:lnTo>
                <a:lnTo>
                  <a:pt x="2192" y="876774"/>
                </a:lnTo>
                <a:cubicBezTo>
                  <a:pt x="3451" y="622354"/>
                  <a:pt x="-1033" y="254420"/>
                  <a:pt x="22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LU" sz="1315"/>
              <a:t> </a:t>
            </a:r>
          </a:p>
        </p:txBody>
      </p:sp>
      <p:sp>
        <p:nvSpPr>
          <p:cNvPr id="16" name="L-shape 7">
            <a:extLst>
              <a:ext uri="{FF2B5EF4-FFF2-40B4-BE49-F238E27FC236}">
                <a16:creationId xmlns:a16="http://schemas.microsoft.com/office/drawing/2014/main" id="{C50798CF-5EE2-FF4E-9F48-2882D59FB6F2}"/>
              </a:ext>
            </a:extLst>
          </p:cNvPr>
          <p:cNvSpPr/>
          <p:nvPr userDrawn="1"/>
        </p:nvSpPr>
        <p:spPr>
          <a:xfrm>
            <a:off x="2049909" y="5655882"/>
            <a:ext cx="703997" cy="691580"/>
          </a:xfrm>
          <a:custGeom>
            <a:avLst/>
            <a:gdLst>
              <a:gd name="connsiteX0" fmla="*/ 0 w 914400"/>
              <a:gd name="connsiteY0" fmla="*/ 0 h 914400"/>
              <a:gd name="connsiteX1" fmla="*/ 4572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304800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68773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00759 w 914400"/>
              <a:gd name="connsiteY1" fmla="*/ 0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12095 w 914400"/>
              <a:gd name="connsiteY1" fmla="*/ 162476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123431 w 914400"/>
              <a:gd name="connsiteY1" fmla="*/ 245603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0 w 914400"/>
              <a:gd name="connsiteY0" fmla="*/ 0 h 914400"/>
              <a:gd name="connsiteX1" fmla="*/ 255679 w 914400"/>
              <a:gd name="connsiteY1" fmla="*/ 294724 h 914400"/>
              <a:gd name="connsiteX2" fmla="*/ 457200 w 914400"/>
              <a:gd name="connsiteY2" fmla="*/ 457200 h 914400"/>
              <a:gd name="connsiteX3" fmla="*/ 914400 w 914400"/>
              <a:gd name="connsiteY3" fmla="*/ 457200 h 914400"/>
              <a:gd name="connsiteX4" fmla="*/ 914400 w 914400"/>
              <a:gd name="connsiteY4" fmla="*/ 914400 h 914400"/>
              <a:gd name="connsiteX5" fmla="*/ 0 w 914400"/>
              <a:gd name="connsiteY5" fmla="*/ 914400 h 914400"/>
              <a:gd name="connsiteX6" fmla="*/ 0 w 914400"/>
              <a:gd name="connsiteY6" fmla="*/ 0 h 914400"/>
              <a:gd name="connsiteX0" fmla="*/ 3778 w 914400"/>
              <a:gd name="connsiteY0" fmla="*/ 0 h 763260"/>
              <a:gd name="connsiteX1" fmla="*/ 255679 w 914400"/>
              <a:gd name="connsiteY1" fmla="*/ 143584 h 763260"/>
              <a:gd name="connsiteX2" fmla="*/ 457200 w 914400"/>
              <a:gd name="connsiteY2" fmla="*/ 306060 h 763260"/>
              <a:gd name="connsiteX3" fmla="*/ 914400 w 914400"/>
              <a:gd name="connsiteY3" fmla="*/ 306060 h 763260"/>
              <a:gd name="connsiteX4" fmla="*/ 914400 w 914400"/>
              <a:gd name="connsiteY4" fmla="*/ 763260 h 763260"/>
              <a:gd name="connsiteX5" fmla="*/ 0 w 914400"/>
              <a:gd name="connsiteY5" fmla="*/ 763260 h 763260"/>
              <a:gd name="connsiteX6" fmla="*/ 3778 w 914400"/>
              <a:gd name="connsiteY6" fmla="*/ 0 h 763260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457200 w 914400"/>
              <a:gd name="connsiteY2" fmla="*/ 400523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4497 w 914400"/>
              <a:gd name="connsiteY2" fmla="*/ 51010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1828 w 914400"/>
              <a:gd name="connsiteY2" fmla="*/ 58567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49387 w 914400"/>
              <a:gd name="connsiteY2" fmla="*/ 668797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30496 w 914400"/>
              <a:gd name="connsiteY2" fmla="*/ 631012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914400 w 914400"/>
              <a:gd name="connsiteY3" fmla="*/ 400523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914400"/>
              <a:gd name="connsiteY0" fmla="*/ 0 h 857723"/>
              <a:gd name="connsiteX1" fmla="*/ 255679 w 914400"/>
              <a:gd name="connsiteY1" fmla="*/ 238047 h 857723"/>
              <a:gd name="connsiteX2" fmla="*/ 268283 w 914400"/>
              <a:gd name="connsiteY2" fmla="*/ 634790 h 857723"/>
              <a:gd name="connsiteX3" fmla="*/ 646129 w 914400"/>
              <a:gd name="connsiteY3" fmla="*/ 623455 h 857723"/>
              <a:gd name="connsiteX4" fmla="*/ 914400 w 914400"/>
              <a:gd name="connsiteY4" fmla="*/ 857723 h 857723"/>
              <a:gd name="connsiteX5" fmla="*/ 0 w 914400"/>
              <a:gd name="connsiteY5" fmla="*/ 857723 h 857723"/>
              <a:gd name="connsiteX6" fmla="*/ 7556 w 914400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68283 w 842611"/>
              <a:gd name="connsiteY2" fmla="*/ 634790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5679 w 842611"/>
              <a:gd name="connsiteY1" fmla="*/ 23804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42611"/>
              <a:gd name="connsiteY0" fmla="*/ 0 h 857723"/>
              <a:gd name="connsiteX1" fmla="*/ 258854 w 842611"/>
              <a:gd name="connsiteY1" fmla="*/ 231697 h 857723"/>
              <a:gd name="connsiteX2" fmla="*/ 256947 w 842611"/>
              <a:gd name="connsiteY2" fmla="*/ 627233 h 857723"/>
              <a:gd name="connsiteX3" fmla="*/ 646129 w 842611"/>
              <a:gd name="connsiteY3" fmla="*/ 623455 h 857723"/>
              <a:gd name="connsiteX4" fmla="*/ 842611 w 842611"/>
              <a:gd name="connsiteY4" fmla="*/ 853945 h 857723"/>
              <a:gd name="connsiteX5" fmla="*/ 0 w 842611"/>
              <a:gd name="connsiteY5" fmla="*/ 857723 h 857723"/>
              <a:gd name="connsiteX6" fmla="*/ 7556 w 842611"/>
              <a:gd name="connsiteY6" fmla="*/ 0 h 857723"/>
              <a:gd name="connsiteX0" fmla="*/ 7556 w 868011"/>
              <a:gd name="connsiteY0" fmla="*/ 0 h 857723"/>
              <a:gd name="connsiteX1" fmla="*/ 258854 w 868011"/>
              <a:gd name="connsiteY1" fmla="*/ 231697 h 857723"/>
              <a:gd name="connsiteX2" fmla="*/ 256947 w 868011"/>
              <a:gd name="connsiteY2" fmla="*/ 627233 h 857723"/>
              <a:gd name="connsiteX3" fmla="*/ 646129 w 868011"/>
              <a:gd name="connsiteY3" fmla="*/ 623455 h 857723"/>
              <a:gd name="connsiteX4" fmla="*/ 868011 w 868011"/>
              <a:gd name="connsiteY4" fmla="*/ 850770 h 857723"/>
              <a:gd name="connsiteX5" fmla="*/ 0 w 868011"/>
              <a:gd name="connsiteY5" fmla="*/ 857723 h 857723"/>
              <a:gd name="connsiteX6" fmla="*/ 7556 w 868011"/>
              <a:gd name="connsiteY6" fmla="*/ 0 h 857723"/>
              <a:gd name="connsiteX0" fmla="*/ 225 w 870205"/>
              <a:gd name="connsiteY0" fmla="*/ 0 h 860898"/>
              <a:gd name="connsiteX1" fmla="*/ 261048 w 870205"/>
              <a:gd name="connsiteY1" fmla="*/ 234872 h 860898"/>
              <a:gd name="connsiteX2" fmla="*/ 259141 w 870205"/>
              <a:gd name="connsiteY2" fmla="*/ 630408 h 860898"/>
              <a:gd name="connsiteX3" fmla="*/ 648323 w 870205"/>
              <a:gd name="connsiteY3" fmla="*/ 626630 h 860898"/>
              <a:gd name="connsiteX4" fmla="*/ 870205 w 870205"/>
              <a:gd name="connsiteY4" fmla="*/ 853945 h 860898"/>
              <a:gd name="connsiteX5" fmla="*/ 2194 w 870205"/>
              <a:gd name="connsiteY5" fmla="*/ 860898 h 860898"/>
              <a:gd name="connsiteX6" fmla="*/ 225 w 870205"/>
              <a:gd name="connsiteY6" fmla="*/ 0 h 860898"/>
              <a:gd name="connsiteX0" fmla="*/ 226 w 870203"/>
              <a:gd name="connsiteY0" fmla="*/ 0 h 876774"/>
              <a:gd name="connsiteX1" fmla="*/ 261046 w 870203"/>
              <a:gd name="connsiteY1" fmla="*/ 250748 h 876774"/>
              <a:gd name="connsiteX2" fmla="*/ 259139 w 870203"/>
              <a:gd name="connsiteY2" fmla="*/ 646284 h 876774"/>
              <a:gd name="connsiteX3" fmla="*/ 648321 w 870203"/>
              <a:gd name="connsiteY3" fmla="*/ 642506 h 876774"/>
              <a:gd name="connsiteX4" fmla="*/ 870203 w 870203"/>
              <a:gd name="connsiteY4" fmla="*/ 869821 h 876774"/>
              <a:gd name="connsiteX5" fmla="*/ 2192 w 870203"/>
              <a:gd name="connsiteY5" fmla="*/ 876774 h 876774"/>
              <a:gd name="connsiteX6" fmla="*/ 226 w 870203"/>
              <a:gd name="connsiteY6" fmla="*/ 0 h 876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203" h="876774">
                <a:moveTo>
                  <a:pt x="226" y="0"/>
                </a:moveTo>
                <a:lnTo>
                  <a:pt x="261046" y="250748"/>
                </a:lnTo>
                <a:cubicBezTo>
                  <a:pt x="258949" y="394331"/>
                  <a:pt x="252837" y="447912"/>
                  <a:pt x="259139" y="646284"/>
                </a:cubicBezTo>
                <a:lnTo>
                  <a:pt x="648321" y="642506"/>
                </a:lnTo>
                <a:lnTo>
                  <a:pt x="870203" y="869821"/>
                </a:lnTo>
                <a:lnTo>
                  <a:pt x="2192" y="876774"/>
                </a:lnTo>
                <a:cubicBezTo>
                  <a:pt x="3451" y="622354"/>
                  <a:pt x="-1033" y="254420"/>
                  <a:pt x="226" y="0"/>
                </a:cubicBezTo>
                <a:close/>
              </a:path>
            </a:pathLst>
          </a:custGeom>
          <a:solidFill>
            <a:srgbClr val="4A8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LU" sz="1315"/>
              <a:t> 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31A67F2-B01D-7946-8E7F-60C3C5F320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630218"/>
            <a:ext cx="2838019" cy="283829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F47E9C7-B054-9A48-9651-47AB95E0CF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500950" y="428049"/>
            <a:ext cx="1256714" cy="1225296"/>
          </a:xfrm>
          <a:prstGeom prst="rect">
            <a:avLst/>
          </a:prstGeom>
        </p:spPr>
      </p:pic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FE07C44F-D1F9-BB48-944D-D5872AF5A7F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75089" y="5634723"/>
            <a:ext cx="5316025" cy="38474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l" defTabSz="452082" rtl="0" eaLnBrk="1" fontAlgn="auto" latinLnBrk="0" hangingPunct="1">
              <a:lnSpc>
                <a:spcPct val="90000"/>
              </a:lnSpc>
              <a:spcBef>
                <a:spcPts val="494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50" b="0" i="0">
                <a:solidFill>
                  <a:schemeClr val="bg1"/>
                </a:solidFill>
                <a:latin typeface="Ubuntu Medium" panose="020B0504030602030204" pitchFamily="34" charset="0"/>
              </a:defRPr>
            </a:lvl1pPr>
          </a:lstStyle>
          <a:p>
            <a:r>
              <a:rPr lang="en-GB"/>
              <a:t>Click to edit time</a:t>
            </a:r>
            <a:endParaRPr lang="en-LU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D96F4E7D-3DE8-DD4A-8FFA-9335A63043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3060" y="428049"/>
            <a:ext cx="2370875" cy="458430"/>
          </a:xfrm>
          <a:prstGeom prst="rect">
            <a:avLst/>
          </a:prstGeom>
          <a:solidFill>
            <a:schemeClr val="bg1"/>
          </a:solidFill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3000" b="0" i="0">
                <a:solidFill>
                  <a:srgbClr val="DC5149"/>
                </a:solidFill>
                <a:latin typeface="Ubuntu Medium" panose="020B0504030602030204" pitchFamily="34" charset="0"/>
              </a:defRPr>
            </a:lvl1pPr>
            <a:lvl2pPr marL="226041" indent="0" algn="ctr">
              <a:buFontTx/>
              <a:buNone/>
              <a:defRPr sz="1606" b="0" i="0">
                <a:solidFill>
                  <a:srgbClr val="DC5149"/>
                </a:solidFill>
                <a:latin typeface="Ubuntu Medium" panose="020B0504030602030204" pitchFamily="34" charset="0"/>
              </a:defRPr>
            </a:lvl2pPr>
            <a:lvl3pPr marL="452082" indent="0" algn="ctr">
              <a:buFontTx/>
              <a:buNone/>
              <a:defRPr sz="1606" b="0" i="0">
                <a:solidFill>
                  <a:srgbClr val="DC5149"/>
                </a:solidFill>
                <a:latin typeface="Ubuntu Medium" panose="020B0504030602030204" pitchFamily="34" charset="0"/>
              </a:defRPr>
            </a:lvl3pPr>
            <a:lvl4pPr marL="678123" indent="0" algn="ctr">
              <a:buFontTx/>
              <a:buNone/>
              <a:defRPr sz="1606" b="0" i="0">
                <a:solidFill>
                  <a:srgbClr val="DC5149"/>
                </a:solidFill>
                <a:latin typeface="Ubuntu Medium" panose="020B0504030602030204" pitchFamily="34" charset="0"/>
              </a:defRPr>
            </a:lvl4pPr>
            <a:lvl5pPr marL="904165" indent="0" algn="ctr">
              <a:buFontTx/>
              <a:buNone/>
              <a:defRPr sz="1606" b="0" i="0">
                <a:solidFill>
                  <a:srgbClr val="DC5149"/>
                </a:solidFill>
                <a:latin typeface="Ubuntu Medium" panose="020B0504030602030204" pitchFamily="34" charset="0"/>
              </a:defRPr>
            </a:lvl5pPr>
          </a:lstStyle>
          <a:p>
            <a:pPr lvl="0"/>
            <a:r>
              <a:rPr lang="en-LU"/>
              <a:t>EDI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ADF575-A52A-314A-8329-90454735F0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9152" y="4347918"/>
            <a:ext cx="6378917" cy="449366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buNone/>
              <a:defRPr sz="2100" b="0" i="0">
                <a:solidFill>
                  <a:srgbClr val="00AFF3"/>
                </a:solidFill>
                <a:latin typeface="Ubuntu" panose="020B0504030602030204" pitchFamily="34" charset="0"/>
              </a:defRPr>
            </a:lvl1pPr>
            <a:lvl2pPr marL="231838" indent="0">
              <a:buNone/>
              <a:defRPr/>
            </a:lvl2pPr>
            <a:lvl3pPr marL="463677" indent="0">
              <a:buNone/>
              <a:defRPr/>
            </a:lvl3pPr>
            <a:lvl4pPr marL="695514" indent="0">
              <a:buNone/>
              <a:defRPr/>
            </a:lvl4pPr>
            <a:lvl5pPr marL="927353" indent="0">
              <a:buNone/>
              <a:defRPr/>
            </a:lvl5pPr>
          </a:lstStyle>
          <a:p>
            <a:pPr lvl="0"/>
            <a:r>
              <a:rPr lang="en-GB"/>
              <a:t>Click to add Speaker name</a:t>
            </a:r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35843655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">
            <a:extLst>
              <a:ext uri="{FF2B5EF4-FFF2-40B4-BE49-F238E27FC236}">
                <a16:creationId xmlns:a16="http://schemas.microsoft.com/office/drawing/2014/main" id="{57F0C9DF-D1FA-45A1-91F6-147FDC3E7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400" y="388188"/>
            <a:ext cx="10944597" cy="716711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CK TO INSERT 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7893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5069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9"/>
          <p:cNvSpPr txBox="1">
            <a:spLocks noGrp="1"/>
          </p:cNvSpPr>
          <p:nvPr>
            <p:ph type="body" idx="1"/>
          </p:nvPr>
        </p:nvSpPr>
        <p:spPr>
          <a:xfrm>
            <a:off x="967154" y="1825624"/>
            <a:ext cx="10267462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22" name="Google Shape;22;p9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" name="Google Shape;23;p9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58372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cover (option 1)" type="title">
  <p:cSld name="TITLE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1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gradFill>
            <a:gsLst>
              <a:gs pos="0">
                <a:srgbClr val="0D6CB4"/>
              </a:gs>
              <a:gs pos="47000">
                <a:srgbClr val="0D6CB4"/>
              </a:gs>
              <a:gs pos="77000">
                <a:srgbClr val="227DC1"/>
              </a:gs>
              <a:gs pos="100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31;p11"/>
          <p:cNvSpPr txBox="1">
            <a:spLocks noGrp="1"/>
          </p:cNvSpPr>
          <p:nvPr>
            <p:ph type="ctrTitle"/>
          </p:nvPr>
        </p:nvSpPr>
        <p:spPr>
          <a:xfrm>
            <a:off x="1070189" y="1122363"/>
            <a:ext cx="10281657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D129"/>
              </a:buClr>
              <a:buSzPts val="6000"/>
              <a:buFont typeface="Arial"/>
              <a:buNone/>
              <a:defRPr sz="6000" b="0" i="0" u="none" strike="noStrike" cap="none">
                <a:solidFill>
                  <a:srgbClr val="FFD12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2" name="Google Shape;32;p11"/>
          <p:cNvSpPr txBox="1">
            <a:spLocks noGrp="1"/>
          </p:cNvSpPr>
          <p:nvPr>
            <p:ph type="subTitle" idx="1"/>
          </p:nvPr>
        </p:nvSpPr>
        <p:spPr>
          <a:xfrm>
            <a:off x="1070189" y="3602038"/>
            <a:ext cx="10281657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33" name="Google Shape;33;p11"/>
          <p:cNvCxnSpPr/>
          <p:nvPr/>
        </p:nvCxnSpPr>
        <p:spPr>
          <a:xfrm>
            <a:off x="838200" y="0"/>
            <a:ext cx="0" cy="3478213"/>
          </a:xfrm>
          <a:prstGeom prst="straightConnector1">
            <a:avLst/>
          </a:prstGeom>
          <a:noFill/>
          <a:ln w="28575" cap="flat" cmpd="sng">
            <a:solidFill>
              <a:srgbClr val="FFD129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4" name="Google Shape;34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945929" y="6193922"/>
            <a:ext cx="1718512" cy="45115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3"/>
          <p:cNvSpPr txBox="1">
            <a:spLocks noGrp="1"/>
          </p:cNvSpPr>
          <p:nvPr>
            <p:ph type="body" idx="1"/>
          </p:nvPr>
        </p:nvSpPr>
        <p:spPr>
          <a:xfrm>
            <a:off x="967154" y="1825624"/>
            <a:ext cx="10267462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43" name="Google Shape;43;p13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" name="Google Shape;44;p13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and Object">
  <p:cSld name="Content and Object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15"/>
          <p:cNvSpPr txBox="1">
            <a:spLocks noGrp="1"/>
          </p:cNvSpPr>
          <p:nvPr>
            <p:ph type="body" idx="1"/>
          </p:nvPr>
        </p:nvSpPr>
        <p:spPr>
          <a:xfrm>
            <a:off x="6232525" y="1825625"/>
            <a:ext cx="5002090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51" name="Google Shape;51;p15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15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3" name="Google Shape;53;p15"/>
          <p:cNvSpPr txBox="1">
            <a:spLocks noGrp="1"/>
          </p:cNvSpPr>
          <p:nvPr>
            <p:ph type="body" idx="2"/>
          </p:nvPr>
        </p:nvSpPr>
        <p:spPr>
          <a:xfrm>
            <a:off x="967154" y="1825624"/>
            <a:ext cx="5004000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2 columns">
  <p:cSld name="Content - 2 columns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6"/>
          <p:cNvSpPr txBox="1">
            <a:spLocks noGrp="1"/>
          </p:cNvSpPr>
          <p:nvPr>
            <p:ph type="body" idx="1"/>
          </p:nvPr>
        </p:nvSpPr>
        <p:spPr>
          <a:xfrm>
            <a:off x="6232524" y="1825624"/>
            <a:ext cx="5004000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56" name="Google Shape;56;p16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" name="Google Shape;57;p16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8" name="Google Shape;58;p16"/>
          <p:cNvSpPr txBox="1">
            <a:spLocks noGrp="1"/>
          </p:cNvSpPr>
          <p:nvPr>
            <p:ph type="body" idx="2"/>
          </p:nvPr>
        </p:nvSpPr>
        <p:spPr>
          <a:xfrm>
            <a:off x="967154" y="1825624"/>
            <a:ext cx="5004000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3 columns">
  <p:cSld name="Content - 3 columns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7"/>
          <p:cNvSpPr txBox="1">
            <a:spLocks noGrp="1"/>
          </p:cNvSpPr>
          <p:nvPr>
            <p:ph type="body" idx="1"/>
          </p:nvPr>
        </p:nvSpPr>
        <p:spPr>
          <a:xfrm>
            <a:off x="970722" y="1825625"/>
            <a:ext cx="3229533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1" name="Google Shape;61;p17"/>
          <p:cNvSpPr txBox="1">
            <a:spLocks noGrp="1"/>
          </p:cNvSpPr>
          <p:nvPr>
            <p:ph type="body" idx="2"/>
          </p:nvPr>
        </p:nvSpPr>
        <p:spPr>
          <a:xfrm>
            <a:off x="4476002" y="1825624"/>
            <a:ext cx="3239996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2" name="Google Shape;62;p17"/>
          <p:cNvSpPr txBox="1">
            <a:spLocks noGrp="1"/>
          </p:cNvSpPr>
          <p:nvPr>
            <p:ph type="body" idx="3"/>
          </p:nvPr>
        </p:nvSpPr>
        <p:spPr>
          <a:xfrm>
            <a:off x="7990763" y="1825624"/>
            <a:ext cx="3239998" cy="4170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63" name="Google Shape;63;p17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" name="Google Shape;64;p17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8"/>
          <p:cNvSpPr txBox="1">
            <a:spLocks noGrp="1"/>
          </p:cNvSpPr>
          <p:nvPr>
            <p:ph type="body" idx="1"/>
          </p:nvPr>
        </p:nvSpPr>
        <p:spPr>
          <a:xfrm>
            <a:off x="970722" y="1681163"/>
            <a:ext cx="5003999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7" name="Google Shape;67;p18"/>
          <p:cNvSpPr txBox="1">
            <a:spLocks noGrp="1"/>
          </p:cNvSpPr>
          <p:nvPr>
            <p:ph type="body" idx="2"/>
          </p:nvPr>
        </p:nvSpPr>
        <p:spPr>
          <a:xfrm>
            <a:off x="970722" y="2597727"/>
            <a:ext cx="5003999" cy="33982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8" name="Google Shape;68;p18"/>
          <p:cNvSpPr txBox="1">
            <a:spLocks noGrp="1"/>
          </p:cNvSpPr>
          <p:nvPr>
            <p:ph type="body" idx="3"/>
          </p:nvPr>
        </p:nvSpPr>
        <p:spPr>
          <a:xfrm>
            <a:off x="6232768" y="1681163"/>
            <a:ext cx="5003999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B91C5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2B91C5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9" name="Google Shape;69;p18"/>
          <p:cNvSpPr txBox="1">
            <a:spLocks noGrp="1"/>
          </p:cNvSpPr>
          <p:nvPr>
            <p:ph type="body" idx="4"/>
          </p:nvPr>
        </p:nvSpPr>
        <p:spPr>
          <a:xfrm>
            <a:off x="6232768" y="2597727"/>
            <a:ext cx="5003999" cy="33982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70" name="Google Shape;70;p18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" name="Google Shape;71;p18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photo">
  <p:cSld name="Title_photo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9"/>
          <p:cNvSpPr>
            <a:spLocks noGrp="1"/>
          </p:cNvSpPr>
          <p:nvPr>
            <p:ph type="pic" idx="2"/>
          </p:nvPr>
        </p:nvSpPr>
        <p:spPr>
          <a:xfrm>
            <a:off x="0" y="1750540"/>
            <a:ext cx="12192000" cy="4245448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74" name="Google Shape;74;p19"/>
          <p:cNvSpPr txBox="1">
            <a:spLocks noGrp="1"/>
          </p:cNvSpPr>
          <p:nvPr>
            <p:ph type="title"/>
          </p:nvPr>
        </p:nvSpPr>
        <p:spPr>
          <a:xfrm>
            <a:off x="970722" y="575220"/>
            <a:ext cx="10263893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800"/>
              <a:buFont typeface="Arial"/>
              <a:buNone/>
              <a:defRPr sz="3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75" name="Google Shape;75;p19"/>
          <p:cNvCxnSpPr/>
          <p:nvPr/>
        </p:nvCxnSpPr>
        <p:spPr>
          <a:xfrm flipH="1">
            <a:off x="838201" y="0"/>
            <a:ext cx="1" cy="1365250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7.sv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oogle Shape;10;p7" descr="EC-JRC-logo_horizontal_EN_pos_transparent-background.png"/>
          <p:cNvPicPr preferRelativeResize="0"/>
          <p:nvPr/>
        </p:nvPicPr>
        <p:blipFill rotWithShape="1">
          <a:blip r:embed="rId18">
            <a:alphaModFix/>
          </a:blip>
          <a:srcRect l="6902" t="10944" r="6668" b="9112"/>
          <a:stretch/>
        </p:blipFill>
        <p:spPr>
          <a:xfrm>
            <a:off x="9945929" y="6177847"/>
            <a:ext cx="1727997" cy="467228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7"/>
          <p:cNvSpPr txBox="1">
            <a:spLocks noGrp="1"/>
          </p:cNvSpPr>
          <p:nvPr>
            <p:ph type="sldNum" idx="12"/>
          </p:nvPr>
        </p:nvSpPr>
        <p:spPr>
          <a:xfrm>
            <a:off x="838200" y="625429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94949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949494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949494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949494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949494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949494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949494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949494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949494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ES"/>
              <a:t>‹Nr.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6" r:id="rId15"/>
    <p:sldLayoutId id="2147483667" r:id="rId1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2">
            <a:lum/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104521-0779-BD4D-9977-D731E0108D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3971" y="443706"/>
            <a:ext cx="1024982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L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B9F9BF-7049-9846-B0EE-3562669437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3970" y="1847851"/>
            <a:ext cx="10249829" cy="3950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L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2EA969-2127-6A41-AC16-0B78502EAC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3033" y="6017515"/>
            <a:ext cx="4114800" cy="365125"/>
          </a:xfrm>
          <a:prstGeom prst="rect">
            <a:avLst/>
          </a:prstGeom>
        </p:spPr>
        <p:txBody>
          <a:bodyPr vert="horz" lIns="0" tIns="45720" rIns="91440" bIns="0" rtlCol="0" anchor="b" anchorCtr="0"/>
          <a:lstStyle>
            <a:lvl1pPr algn="r">
              <a:defRPr sz="1200">
                <a:solidFill>
                  <a:srgbClr val="00008E"/>
                </a:solidFill>
              </a:defRPr>
            </a:lvl1pPr>
          </a:lstStyle>
          <a:p>
            <a:pPr algn="r"/>
            <a:endParaRPr lang="en-L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351D2F-0D98-C942-9DDB-3A05CB97B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7833" y="6017515"/>
            <a:ext cx="525966" cy="365125"/>
          </a:xfrm>
          <a:prstGeom prst="rect">
            <a:avLst/>
          </a:prstGeom>
        </p:spPr>
        <p:txBody>
          <a:bodyPr vert="horz" lIns="0" tIns="45720" rIns="91440" bIns="0" rtlCol="0" anchor="b" anchorCtr="0"/>
          <a:lstStyle>
            <a:lvl1pPr algn="r">
              <a:defRPr sz="1200">
                <a:solidFill>
                  <a:srgbClr val="00008E"/>
                </a:solidFill>
              </a:defRPr>
            </a:lvl1pPr>
          </a:lstStyle>
          <a:p>
            <a:fld id="{565F4DDF-2308-8849-B5A9-77634EBD6ED5}" type="slidenum">
              <a:rPr lang="en-LU" smtClean="0"/>
              <a:pPr/>
              <a:t>‹Nr.›</a:t>
            </a:fld>
            <a:endParaRPr lang="en-LU"/>
          </a:p>
        </p:txBody>
      </p:sp>
    </p:spTree>
    <p:extLst>
      <p:ext uri="{BB962C8B-B14F-4D97-AF65-F5344CB8AC3E}">
        <p14:creationId xmlns:p14="http://schemas.microsoft.com/office/powerpoint/2010/main" val="3742507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00008E"/>
          </a:solidFill>
          <a:latin typeface="Trebuchet MS" panose="020B070302020209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008E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0008E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0008E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008E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008E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L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9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"/>
          <p:cNvSpPr txBox="1">
            <a:spLocks noGrp="1"/>
          </p:cNvSpPr>
          <p:nvPr>
            <p:ph type="ctrTitle"/>
          </p:nvPr>
        </p:nvSpPr>
        <p:spPr>
          <a:xfrm>
            <a:off x="1071349" y="1992572"/>
            <a:ext cx="10290265" cy="2149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/>
            <a:r>
              <a:rPr lang="en-US" sz="5600" dirty="0"/>
              <a:t>ISO &amp; GeoDCAT-AP metadata</a:t>
            </a:r>
            <a:br>
              <a:rPr lang="en-US" sz="5600" dirty="0"/>
            </a:br>
            <a:r>
              <a:rPr lang="en-US" sz="5600" dirty="0"/>
              <a:t>implementation pilot</a:t>
            </a:r>
            <a:endParaRPr sz="5600" dirty="0"/>
          </a:p>
        </p:txBody>
      </p:sp>
      <p:sp>
        <p:nvSpPr>
          <p:cNvPr id="121" name="Google Shape;121;p1"/>
          <p:cNvSpPr txBox="1">
            <a:spLocks noGrp="1"/>
          </p:cNvSpPr>
          <p:nvPr>
            <p:ph type="subTitle" idx="1"/>
          </p:nvPr>
        </p:nvSpPr>
        <p:spPr>
          <a:xfrm>
            <a:off x="1071350" y="3876692"/>
            <a:ext cx="9453393" cy="897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SzPts val="2300"/>
            </a:pPr>
            <a:r>
              <a:rPr lang="en-US" sz="2400" b="1" dirty="0"/>
              <a:t>European Commission SEMIC Group (DG DIGIT) and DG JRC,   Publications Office of the European Union </a:t>
            </a:r>
          </a:p>
          <a:p>
            <a:pPr>
              <a:buSzPts val="2300"/>
            </a:pPr>
            <a:r>
              <a:rPr lang="en-US" sz="2400" b="1" dirty="0"/>
              <a:t>&amp; Member States</a:t>
            </a:r>
          </a:p>
          <a:p>
            <a:pPr marL="0" lvl="0" indent="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400"/>
              <a:buNone/>
            </a:pPr>
            <a:endParaRPr sz="2400" dirty="0"/>
          </a:p>
        </p:txBody>
      </p:sp>
      <p:sp>
        <p:nvSpPr>
          <p:cNvPr id="122" name="Google Shape;122;p1"/>
          <p:cNvSpPr txBox="1">
            <a:spLocks noGrp="1"/>
          </p:cNvSpPr>
          <p:nvPr>
            <p:ph type="body" idx="2"/>
          </p:nvPr>
        </p:nvSpPr>
        <p:spPr>
          <a:xfrm>
            <a:off x="5684519" y="5872536"/>
            <a:ext cx="5677095" cy="8774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/>
            <a:r>
              <a:rPr lang="it-IT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con terra for data.europa.eu</a:t>
            </a:r>
            <a:endParaRPr lang="en-GB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marL="0" lvl="0" indent="0"/>
            <a:r>
              <a:rPr lang="en-GB" dirty="0"/>
              <a:t>2nd Meeting – November 20, 2024</a:t>
            </a:r>
          </a:p>
          <a:p>
            <a:pPr marL="0" lvl="0" indent="0" algn="r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2200"/>
              <a:buFont typeface="Arial"/>
              <a:buNone/>
            </a:pPr>
            <a:endParaRPr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5C393F-DB85-8C75-921C-01F9F780DA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C331384-360C-3E4A-1E23-D92EA25D99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67154" y="1620000"/>
            <a:ext cx="10267462" cy="4170363"/>
          </a:xfrm>
          <a:noFill/>
        </p:spPr>
        <p:txBody>
          <a:bodyPr/>
          <a:lstStyle/>
          <a:p>
            <a:pPr marL="7620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GB" sz="2800" b="1" dirty="0">
                <a:solidFill>
                  <a:srgbClr val="0070C0"/>
                </a:solidFill>
              </a:rPr>
              <a:t>Testing focu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b="1" dirty="0">
                <a:solidFill>
                  <a:schemeClr val="bg2"/>
                </a:solidFill>
              </a:rPr>
              <a:t>data.europa.eu harvests geocatalogues via a component called “</a:t>
            </a:r>
            <a:r>
              <a:rPr lang="en-GB" b="1" dirty="0" err="1">
                <a:solidFill>
                  <a:schemeClr val="bg2"/>
                </a:solidFill>
              </a:rPr>
              <a:t>geoharvester</a:t>
            </a:r>
            <a:r>
              <a:rPr lang="en-GB" b="1" dirty="0">
                <a:solidFill>
                  <a:schemeClr val="bg2"/>
                </a:solidFill>
              </a:rPr>
              <a:t>”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GB" b="1" dirty="0">
                <a:solidFill>
                  <a:schemeClr val="bg2"/>
                </a:solidFill>
              </a:rPr>
              <a:t>It currently maps ISO 19139 to </a:t>
            </a:r>
            <a:r>
              <a:rPr lang="en-GB" b="1" dirty="0" err="1">
                <a:solidFill>
                  <a:schemeClr val="bg2"/>
                </a:solidFill>
              </a:rPr>
              <a:t>GeoDCAT</a:t>
            </a:r>
            <a:r>
              <a:rPr lang="en-GB" b="1" dirty="0">
                <a:solidFill>
                  <a:schemeClr val="bg2"/>
                </a:solidFill>
              </a:rPr>
              <a:t>-AP 2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GB" b="1" dirty="0">
                <a:solidFill>
                  <a:schemeClr val="bg2"/>
                </a:solidFill>
              </a:rPr>
              <a:t>We will update to </a:t>
            </a:r>
            <a:r>
              <a:rPr lang="en-GB" b="1" dirty="0" err="1">
                <a:solidFill>
                  <a:schemeClr val="bg2"/>
                </a:solidFill>
              </a:rPr>
              <a:t>GeoDCAT</a:t>
            </a:r>
            <a:r>
              <a:rPr lang="en-GB" b="1" dirty="0">
                <a:solidFill>
                  <a:schemeClr val="bg2"/>
                </a:solidFill>
              </a:rPr>
              <a:t>-AP 3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b="1" dirty="0">
                <a:solidFill>
                  <a:schemeClr val="bg2"/>
                </a:solidFill>
              </a:rPr>
              <a:t>We will implement the changes apparent in the XSLT </a:t>
            </a:r>
            <a:r>
              <a:rPr lang="en-GB" b="1" baseline="30000" dirty="0">
                <a:solidFill>
                  <a:schemeClr val="bg2"/>
                </a:solidFill>
              </a:rPr>
              <a:t>[1]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GB" b="1" dirty="0">
                <a:solidFill>
                  <a:schemeClr val="bg2"/>
                </a:solidFill>
              </a:rPr>
              <a:t>The new version will not be available on data.europa.eu immediately (we need to coordinate with other partners)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GB" b="1" dirty="0">
                <a:solidFill>
                  <a:schemeClr val="bg2"/>
                </a:solidFill>
              </a:rPr>
              <a:t>Testing: Look at </a:t>
            </a:r>
            <a:r>
              <a:rPr lang="en-GB" b="1" dirty="0" err="1">
                <a:solidFill>
                  <a:schemeClr val="bg2"/>
                </a:solidFill>
              </a:rPr>
              <a:t>GeoDCAT</a:t>
            </a:r>
            <a:r>
              <a:rPr lang="en-GB" b="1" dirty="0">
                <a:solidFill>
                  <a:schemeClr val="bg2"/>
                </a:solidFill>
              </a:rPr>
              <a:t>-AP metadata harvested from selected geocatalogu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66B4D-4A50-8FCF-3EFF-61F15B9AB6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b="1" dirty="0"/>
              <a:t>Pilot progress </a:t>
            </a:r>
            <a:br>
              <a:rPr lang="en-GB" sz="3600" b="1" dirty="0"/>
            </a:br>
            <a:r>
              <a:rPr lang="en-GB" sz="3600" b="1" dirty="0">
                <a:solidFill>
                  <a:srgbClr val="FF0000"/>
                </a:solidFill>
              </a:rPr>
              <a:t>con terra for data.europa.eu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8BCD57D-C92B-3009-BB70-F68323844E6D}"/>
              </a:ext>
            </a:extLst>
          </p:cNvPr>
          <p:cNvSpPr txBox="1"/>
          <p:nvPr/>
        </p:nvSpPr>
        <p:spPr>
          <a:xfrm>
            <a:off x="1117600" y="6363841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b="1" dirty="0">
                <a:solidFill>
                  <a:schemeClr val="bg2"/>
                </a:solidFill>
              </a:rPr>
              <a:t>[1] https://github.com/semiceu/iso-19139-to-dcat-ap/</a:t>
            </a:r>
          </a:p>
        </p:txBody>
      </p:sp>
    </p:spTree>
    <p:extLst>
      <p:ext uri="{BB962C8B-B14F-4D97-AF65-F5344CB8AC3E}">
        <p14:creationId xmlns:p14="http://schemas.microsoft.com/office/powerpoint/2010/main" val="26214009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FA27E0-0B40-4C0C-F333-0AD5E0418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800" dirty="0" err="1">
                <a:solidFill>
                  <a:schemeClr val="dk2"/>
                </a:solidFill>
                <a:latin typeface="Arial"/>
                <a:cs typeface="Arial"/>
                <a:sym typeface="Arial"/>
              </a:rPr>
              <a:t>Harvesting</a:t>
            </a:r>
            <a:r>
              <a:rPr lang="de-DE" sz="3800" dirty="0">
                <a:solidFill>
                  <a:schemeClr val="dk2"/>
                </a:solidFill>
                <a:latin typeface="Arial"/>
                <a:cs typeface="Arial"/>
                <a:sym typeface="Arial"/>
              </a:rPr>
              <a:t> </a:t>
            </a:r>
            <a:r>
              <a:rPr lang="de-DE" sz="3800" dirty="0" err="1">
                <a:solidFill>
                  <a:schemeClr val="dk2"/>
                </a:solidFill>
                <a:latin typeface="Arial"/>
                <a:cs typeface="Arial"/>
                <a:sym typeface="Arial"/>
              </a:rPr>
              <a:t>for</a:t>
            </a:r>
            <a:r>
              <a:rPr lang="de-DE" sz="3800" dirty="0">
                <a:solidFill>
                  <a:schemeClr val="dk2"/>
                </a:solidFill>
                <a:latin typeface="Arial"/>
                <a:cs typeface="Arial"/>
                <a:sym typeface="Arial"/>
              </a:rPr>
              <a:t> data.europa.eu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4FCE954-29E0-FE92-3E3C-A1BDA88DD27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66538" y="6018213"/>
            <a:ext cx="525462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5F4DDF-2308-8849-B5A9-77634EBD6ED5}" type="slidenum">
              <a:rPr kumimoji="0" lang="en-L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8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LU" sz="1200" b="0" i="0" u="none" strike="noStrike" kern="1200" cap="none" spc="0" normalizeH="0" baseline="0" noProof="0">
              <a:ln>
                <a:noFill/>
              </a:ln>
              <a:solidFill>
                <a:srgbClr val="00008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1B94AEFE-BB8F-E711-2C6E-FDA38DE8B15D}"/>
              </a:ext>
            </a:extLst>
          </p:cNvPr>
          <p:cNvSpPr/>
          <p:nvPr/>
        </p:nvSpPr>
        <p:spPr>
          <a:xfrm>
            <a:off x="1707865" y="3467146"/>
            <a:ext cx="2090738" cy="638868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ocatalogu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1D8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1A849E7A-7600-C7E7-1DD0-D23F60CBF8CD}"/>
              </a:ext>
            </a:extLst>
          </p:cNvPr>
          <p:cNvSpPr/>
          <p:nvPr/>
        </p:nvSpPr>
        <p:spPr>
          <a:xfrm>
            <a:off x="1747359" y="2015696"/>
            <a:ext cx="1944095" cy="684880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n Data Catalogue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8E1BE3D-EC17-2CD9-23C9-85FEF7ED74B7}"/>
              </a:ext>
            </a:extLst>
          </p:cNvPr>
          <p:cNvSpPr/>
          <p:nvPr/>
        </p:nvSpPr>
        <p:spPr>
          <a:xfrm>
            <a:off x="8551101" y="2915255"/>
            <a:ext cx="1431637" cy="86098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rvesting</a:t>
            </a:r>
          </a:p>
        </p:txBody>
      </p:sp>
      <p:sp>
        <p:nvSpPr>
          <p:cNvPr id="15" name="Flussdiagramm: Mehrere Dokumente 14">
            <a:extLst>
              <a:ext uri="{FF2B5EF4-FFF2-40B4-BE49-F238E27FC236}">
                <a16:creationId xmlns:a16="http://schemas.microsoft.com/office/drawing/2014/main" id="{7C68C960-B07E-1B22-40DE-250E94D176DF}"/>
              </a:ext>
            </a:extLst>
          </p:cNvPr>
          <p:cNvSpPr/>
          <p:nvPr/>
        </p:nvSpPr>
        <p:spPr>
          <a:xfrm>
            <a:off x="2359186" y="2642782"/>
            <a:ext cx="720437" cy="544946"/>
          </a:xfrm>
          <a:prstGeom prst="flowChartMultidocumen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CAT-AP</a:t>
            </a: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0A50988F-1813-82E5-EEAC-9831A4034989}"/>
              </a:ext>
            </a:extLst>
          </p:cNvPr>
          <p:cNvSpPr/>
          <p:nvPr/>
        </p:nvSpPr>
        <p:spPr>
          <a:xfrm>
            <a:off x="3628621" y="3650343"/>
            <a:ext cx="1016001" cy="272473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SW</a:t>
            </a:r>
          </a:p>
        </p:txBody>
      </p:sp>
      <p:sp>
        <p:nvSpPr>
          <p:cNvPr id="17" name="Flussdiagramm: Mehrere Dokumente 16">
            <a:extLst>
              <a:ext uri="{FF2B5EF4-FFF2-40B4-BE49-F238E27FC236}">
                <a16:creationId xmlns:a16="http://schemas.microsoft.com/office/drawing/2014/main" id="{77202049-96D2-F370-C158-ED2742DB7A46}"/>
              </a:ext>
            </a:extLst>
          </p:cNvPr>
          <p:cNvSpPr/>
          <p:nvPr/>
        </p:nvSpPr>
        <p:spPr>
          <a:xfrm>
            <a:off x="2359186" y="3985941"/>
            <a:ext cx="720437" cy="544946"/>
          </a:xfrm>
          <a:prstGeom prst="flowChartMultidocumen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O 19139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3519CE37-A3E1-C913-32C2-4AAB35024326}"/>
              </a:ext>
            </a:extLst>
          </p:cNvPr>
          <p:cNvSpPr/>
          <p:nvPr/>
        </p:nvSpPr>
        <p:spPr>
          <a:xfrm>
            <a:off x="5288195" y="3627731"/>
            <a:ext cx="1431637" cy="31943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oharvesting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01D8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4BA097E3-2B1B-6782-FD88-5824E95D3893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3691454" y="2358136"/>
            <a:ext cx="4859647" cy="9876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4C8A79D0-8DC7-F3AE-1FF5-A4D70B7E8F8D}"/>
              </a:ext>
            </a:extLst>
          </p:cNvPr>
          <p:cNvCxnSpPr>
            <a:cxnSpLocks/>
            <a:stCxn id="16" idx="3"/>
            <a:endCxn id="19" idx="1"/>
          </p:cNvCxnSpPr>
          <p:nvPr/>
        </p:nvCxnSpPr>
        <p:spPr>
          <a:xfrm>
            <a:off x="4644622" y="3786580"/>
            <a:ext cx="643573" cy="8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503FAE02-2FC5-F409-6757-BB428706C335}"/>
              </a:ext>
            </a:extLst>
          </p:cNvPr>
          <p:cNvCxnSpPr>
            <a:cxnSpLocks/>
            <a:stCxn id="19" idx="3"/>
            <a:endCxn id="9" idx="1"/>
          </p:cNvCxnSpPr>
          <p:nvPr/>
        </p:nvCxnSpPr>
        <p:spPr>
          <a:xfrm flipV="1">
            <a:off x="6719832" y="3345745"/>
            <a:ext cx="1831269" cy="4417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281C6FDC-F048-3DA8-3BCA-38D9932E8789}"/>
              </a:ext>
            </a:extLst>
          </p:cNvPr>
          <p:cNvSpPr txBox="1"/>
          <p:nvPr/>
        </p:nvSpPr>
        <p:spPr>
          <a:xfrm>
            <a:off x="5254851" y="3985941"/>
            <a:ext cx="290925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quests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adata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1D8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lates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O 19139 to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oDCA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AP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1D8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lussdiagramm: Mehrere Dokumente 10">
            <a:extLst>
              <a:ext uri="{FF2B5EF4-FFF2-40B4-BE49-F238E27FC236}">
                <a16:creationId xmlns:a16="http://schemas.microsoft.com/office/drawing/2014/main" id="{5F4B2405-5F9C-BFCB-9903-F68D54377413}"/>
              </a:ext>
            </a:extLst>
          </p:cNvPr>
          <p:cNvSpPr/>
          <p:nvPr/>
        </p:nvSpPr>
        <p:spPr>
          <a:xfrm>
            <a:off x="7209639" y="3354390"/>
            <a:ext cx="941830" cy="544946"/>
          </a:xfrm>
          <a:prstGeom prst="flowChartMultidocumen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dirty="0" err="1">
                <a:solidFill>
                  <a:srgbClr val="001D85"/>
                </a:solidFill>
                <a:latin typeface="Calibri" panose="020F0502020204030204"/>
              </a:rPr>
              <a:t>Geo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CAT-AP</a:t>
            </a:r>
          </a:p>
        </p:txBody>
      </p:sp>
      <p:pic>
        <p:nvPicPr>
          <p:cNvPr id="27" name="Inhaltsplatzhalter 9">
            <a:extLst>
              <a:ext uri="{FF2B5EF4-FFF2-40B4-BE49-F238E27FC236}">
                <a16:creationId xmlns:a16="http://schemas.microsoft.com/office/drawing/2014/main" id="{E5D42854-48D6-4BD6-2323-ADF2DE3A90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10149" y="1242040"/>
            <a:ext cx="2090738" cy="2092325"/>
          </a:xfrm>
          <a:prstGeom prst="rect">
            <a:avLst/>
          </a:prstGeom>
        </p:spPr>
      </p:pic>
      <p:sp>
        <p:nvSpPr>
          <p:cNvPr id="29" name="Flussdiagramm: Mehrere Dokumente 28">
            <a:extLst>
              <a:ext uri="{FF2B5EF4-FFF2-40B4-BE49-F238E27FC236}">
                <a16:creationId xmlns:a16="http://schemas.microsoft.com/office/drawing/2014/main" id="{730C9D4A-DBB9-01F9-23D1-89F0E828F2E6}"/>
              </a:ext>
            </a:extLst>
          </p:cNvPr>
          <p:cNvSpPr/>
          <p:nvPr/>
        </p:nvSpPr>
        <p:spPr>
          <a:xfrm>
            <a:off x="10243131" y="3090520"/>
            <a:ext cx="720437" cy="544946"/>
          </a:xfrm>
          <a:prstGeom prst="flowChartMultidocumen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1D8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CAT-AP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FB2A0648-9E2A-99E7-B3C4-FB9198A143AD}"/>
              </a:ext>
            </a:extLst>
          </p:cNvPr>
          <p:cNvSpPr/>
          <p:nvPr/>
        </p:nvSpPr>
        <p:spPr>
          <a:xfrm>
            <a:off x="5097294" y="1595336"/>
            <a:ext cx="6938854" cy="3692171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1D8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prechblase: oval 3">
            <a:extLst>
              <a:ext uri="{FF2B5EF4-FFF2-40B4-BE49-F238E27FC236}">
                <a16:creationId xmlns:a16="http://schemas.microsoft.com/office/drawing/2014/main" id="{F7F6EB7F-136D-ABD6-4F1E-445A4FF1BE3B}"/>
              </a:ext>
            </a:extLst>
          </p:cNvPr>
          <p:cNvSpPr/>
          <p:nvPr/>
        </p:nvSpPr>
        <p:spPr>
          <a:xfrm>
            <a:off x="5921772" y="1892940"/>
            <a:ext cx="1631950" cy="843787"/>
          </a:xfrm>
          <a:prstGeom prst="wedgeEllipseCallout">
            <a:avLst>
              <a:gd name="adj1" fmla="val -40430"/>
              <a:gd name="adj2" fmla="val 145522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Updat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eoDCAT</a:t>
            </a:r>
            <a:r>
              <a:rPr lang="de-DE" dirty="0"/>
              <a:t> 3.0</a:t>
            </a:r>
          </a:p>
        </p:txBody>
      </p:sp>
    </p:spTree>
    <p:extLst>
      <p:ext uri="{BB962C8B-B14F-4D97-AF65-F5344CB8AC3E}">
        <p14:creationId xmlns:p14="http://schemas.microsoft.com/office/powerpoint/2010/main" val="20087840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E99E8A-2B23-3DBC-5BC6-2BAE49328E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A44365F-8DEB-DA6B-88A7-16C21B7B05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67154" y="1620000"/>
            <a:ext cx="7500487" cy="4170363"/>
          </a:xfrm>
          <a:noFill/>
        </p:spPr>
        <p:txBody>
          <a:bodyPr/>
          <a:lstStyle/>
          <a:p>
            <a:pPr marL="7620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800" b="1" dirty="0">
                <a:solidFill>
                  <a:srgbClr val="0070C0"/>
                </a:solidFill>
              </a:rPr>
              <a:t>Progress achieved / Issue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b="1" dirty="0">
                <a:solidFill>
                  <a:srgbClr val="002060"/>
                </a:solidFill>
              </a:rPr>
              <a:t>Plan to implement in January 2025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b="1" dirty="0">
                <a:solidFill>
                  <a:srgbClr val="002060"/>
                </a:solidFill>
              </a:rPr>
              <a:t>The </a:t>
            </a:r>
            <a:r>
              <a:rPr lang="en-US" sz="2000" b="1" dirty="0" err="1">
                <a:solidFill>
                  <a:srgbClr val="002060"/>
                </a:solidFill>
              </a:rPr>
              <a:t>geoharvester</a:t>
            </a:r>
            <a:r>
              <a:rPr lang="en-US" sz="2000" b="1" dirty="0">
                <a:solidFill>
                  <a:srgbClr val="002060"/>
                </a:solidFill>
              </a:rPr>
              <a:t> has its own XSLT which we will align to </a:t>
            </a:r>
            <a:r>
              <a:rPr lang="en-US" sz="2000" b="1" dirty="0" err="1">
                <a:solidFill>
                  <a:srgbClr val="002060"/>
                </a:solidFill>
              </a:rPr>
              <a:t>GeoDCAT</a:t>
            </a:r>
            <a:r>
              <a:rPr lang="en-US" sz="2000" b="1" dirty="0">
                <a:solidFill>
                  <a:srgbClr val="002060"/>
                </a:solidFill>
              </a:rPr>
              <a:t>-AP 3 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b="1" dirty="0">
                <a:solidFill>
                  <a:srgbClr val="002060"/>
                </a:solidFill>
              </a:rPr>
              <a:t>Derive information on HVD?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GB" b="1" dirty="0">
                <a:latin typeface="Calibri" panose="020F0502020204030204" pitchFamily="34" charset="0"/>
                <a:ea typeface="Calibri" panose="020F0502020204030204" pitchFamily="34" charset="0"/>
              </a:rPr>
              <a:t>We will </a:t>
            </a:r>
            <a:r>
              <a:rPr lang="en-GB" b="1" i="1" dirty="0">
                <a:latin typeface="Calibri" panose="020F0502020204030204" pitchFamily="34" charset="0"/>
                <a:ea typeface="Calibri" panose="020F0502020204030204" pitchFamily="34" charset="0"/>
              </a:rPr>
              <a:t>not</a:t>
            </a:r>
            <a:r>
              <a:rPr lang="en-GB" b="1" dirty="0">
                <a:latin typeface="Calibri" panose="020F0502020204030204" pitchFamily="34" charset="0"/>
                <a:ea typeface="Calibri" panose="020F0502020204030204" pitchFamily="34" charset="0"/>
              </a:rPr>
              <a:t> assume that all INSPIRE metadata of certain categories are also HVD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GB" b="1" dirty="0" err="1">
                <a:latin typeface="Calibri" panose="020F0502020204030204" pitchFamily="34" charset="0"/>
                <a:ea typeface="Calibri" panose="020F0502020204030204" pitchFamily="34" charset="0"/>
              </a:rPr>
              <a:t>applicableLegislation</a:t>
            </a:r>
            <a:r>
              <a:rPr lang="en-GB" b="1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b="1" dirty="0">
                <a:latin typeface="Calibri" panose="020F0502020204030204" pitchFamily="34" charset="0"/>
                <a:ea typeface="Calibri" panose="020F0502020204030204" pitchFamily="34" charset="0"/>
                <a:sym typeface="Wingdings" panose="05000000000000000000" pitchFamily="2" charset="2"/>
              </a:rPr>
              <a:t> INSPIRE could be derived (to be decided), no Open Data Directive</a:t>
            </a:r>
            <a:endParaRPr lang="en-GB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GB" b="1" dirty="0" err="1">
                <a:latin typeface="Calibri" panose="020F0502020204030204" pitchFamily="34" charset="0"/>
                <a:ea typeface="Calibri" panose="020F0502020204030204" pitchFamily="34" charset="0"/>
              </a:rPr>
              <a:t>dct-ap</a:t>
            </a:r>
            <a:r>
              <a:rPr lang="en-GB" b="1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:hvdCategory</a:t>
            </a:r>
            <a:r>
              <a:rPr lang="en-US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sym typeface="Wingdings" panose="05000000000000000000" pitchFamily="2" charset="2"/>
              </a:rPr>
              <a:t>to de decided</a:t>
            </a:r>
            <a:endParaRPr lang="en-US" b="1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32B7B19-C14E-6309-E126-500B992A64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b="1" dirty="0"/>
              <a:t>Pilot progress </a:t>
            </a:r>
            <a:br>
              <a:rPr lang="en-GB" sz="3600" b="1" dirty="0"/>
            </a:br>
            <a:r>
              <a:rPr lang="en-GB" sz="3600" b="1" dirty="0">
                <a:solidFill>
                  <a:srgbClr val="FF0000"/>
                </a:solidFill>
              </a:rPr>
              <a:t>con terra for data.europa.eu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6B27F92-1D14-F200-49E4-1FC7F29C0A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7641" y="2057400"/>
            <a:ext cx="3724359" cy="480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9370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967154" y="1620000"/>
            <a:ext cx="10267462" cy="4170363"/>
          </a:xfrm>
          <a:noFill/>
        </p:spPr>
        <p:txBody>
          <a:bodyPr/>
          <a:lstStyle/>
          <a:p>
            <a:pPr marL="7620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800" b="1" dirty="0">
                <a:solidFill>
                  <a:srgbClr val="0070C0"/>
                </a:solidFill>
              </a:rPr>
              <a:t>Expectations / Proposal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rgbClr val="002060"/>
                </a:solidFill>
              </a:rPr>
              <a:t>First version on </a:t>
            </a:r>
            <a:r>
              <a:rPr lang="en-US" b="1" dirty="0" err="1">
                <a:solidFill>
                  <a:srgbClr val="002060"/>
                </a:solidFill>
              </a:rPr>
              <a:t>geoharvester</a:t>
            </a:r>
            <a:r>
              <a:rPr lang="en-US" b="1" dirty="0">
                <a:solidFill>
                  <a:srgbClr val="002060"/>
                </a:solidFill>
              </a:rPr>
              <a:t> aligned to </a:t>
            </a:r>
            <a:r>
              <a:rPr lang="en-US" b="1" dirty="0" err="1">
                <a:solidFill>
                  <a:srgbClr val="002060"/>
                </a:solidFill>
              </a:rPr>
              <a:t>GeoDCAT</a:t>
            </a:r>
            <a:r>
              <a:rPr lang="en-US" b="1" dirty="0">
                <a:solidFill>
                  <a:srgbClr val="002060"/>
                </a:solidFill>
              </a:rPr>
              <a:t>-AP 3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rgbClr val="002060"/>
                </a:solidFill>
              </a:rPr>
              <a:t>We hope for quick resolutions should issues arise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rgbClr val="002060"/>
                </a:solidFill>
              </a:rPr>
              <a:t>We can provide transformed metadata in </a:t>
            </a:r>
            <a:r>
              <a:rPr lang="en-US" b="1" dirty="0" err="1">
                <a:solidFill>
                  <a:srgbClr val="002060"/>
                </a:solidFill>
              </a:rPr>
              <a:t>GeoDCAT</a:t>
            </a:r>
            <a:r>
              <a:rPr lang="en-US" b="1" dirty="0">
                <a:solidFill>
                  <a:srgbClr val="002060"/>
                </a:solidFill>
              </a:rPr>
              <a:t>-AP 3 (XML) to interested partners for testing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b="1" dirty="0"/>
              <a:t>Pilot progress </a:t>
            </a:r>
            <a:br>
              <a:rPr lang="en-GB" sz="3600" b="1" dirty="0"/>
            </a:br>
            <a:r>
              <a:rPr lang="en-GB" sz="3600" b="1" dirty="0">
                <a:solidFill>
                  <a:srgbClr val="FF0000"/>
                </a:solidFill>
              </a:rPr>
              <a:t>con terra for data.europa.eu</a:t>
            </a:r>
          </a:p>
        </p:txBody>
      </p:sp>
    </p:spTree>
    <p:extLst>
      <p:ext uri="{BB962C8B-B14F-4D97-AF65-F5344CB8AC3E}">
        <p14:creationId xmlns:p14="http://schemas.microsoft.com/office/powerpoint/2010/main" val="8204544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JRC palette 1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6ACBF3"/>
      </a:accent1>
      <a:accent2>
        <a:srgbClr val="3E99DA"/>
      </a:accent2>
      <a:accent3>
        <a:srgbClr val="1EC08A"/>
      </a:accent3>
      <a:accent4>
        <a:srgbClr val="ED8D2F"/>
      </a:accent4>
      <a:accent5>
        <a:srgbClr val="F8CC29"/>
      </a:accent5>
      <a:accent6>
        <a:srgbClr val="E76C53"/>
      </a:accent6>
      <a:hlink>
        <a:srgbClr val="0563C1"/>
      </a:hlink>
      <a:folHlink>
        <a:srgbClr val="24337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38100">
          <a:solidFill>
            <a:srgbClr val="C00000"/>
          </a:solidFill>
          <a:prstDash val="dash"/>
          <a:tailEnd type="stealth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dataeuropa">
      <a:dk1>
        <a:srgbClr val="001D85"/>
      </a:dk1>
      <a:lt1>
        <a:srgbClr val="FFFFFF"/>
      </a:lt1>
      <a:dk2>
        <a:srgbClr val="001D85"/>
      </a:dk2>
      <a:lt2>
        <a:srgbClr val="FFFFFF"/>
      </a:lt2>
      <a:accent1>
        <a:srgbClr val="4472C4"/>
      </a:accent1>
      <a:accent2>
        <a:srgbClr val="DC5149"/>
      </a:accent2>
      <a:accent3>
        <a:srgbClr val="FFCC00"/>
      </a:accent3>
      <a:accent4>
        <a:srgbClr val="D5D5D5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1361e2a-0d7e-4287-ac37-6eff038fbeec">
      <Terms xmlns="http://schemas.microsoft.com/office/infopath/2007/PartnerControls"/>
    </lcf76f155ced4ddcb4097134ff3c332f>
    <TaxCatchAll xmlns="aaefd727-9cb6-4c02-9ace-b3a3b4c9f10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6D25F8FCE0FE84A9BF3F01E5E3894C3" ma:contentTypeVersion="17" ma:contentTypeDescription="Ein neues Dokument erstellen." ma:contentTypeScope="" ma:versionID="4a8b2756d046b1df97145ed3e0b00391">
  <xsd:schema xmlns:xsd="http://www.w3.org/2001/XMLSchema" xmlns:xs="http://www.w3.org/2001/XMLSchema" xmlns:p="http://schemas.microsoft.com/office/2006/metadata/properties" xmlns:ns2="557f45fa-106f-4484-bebb-380a93dcf639" xmlns:ns3="51361e2a-0d7e-4287-ac37-6eff038fbeec" xmlns:ns4="aaefd727-9cb6-4c02-9ace-b3a3b4c9f10e" targetNamespace="http://schemas.microsoft.com/office/2006/metadata/properties" ma:root="true" ma:fieldsID="afa1e442652e0c276934a3ff5bcbf066" ns2:_="" ns3:_="" ns4:_="">
    <xsd:import namespace="557f45fa-106f-4484-bebb-380a93dcf639"/>
    <xsd:import namespace="51361e2a-0d7e-4287-ac37-6eff038fbeec"/>
    <xsd:import namespace="aaefd727-9cb6-4c02-9ace-b3a3b4c9f10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7f45fa-106f-4484-bebb-380a93dcf63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361e2a-0d7e-4287-ac37-6eff038fbe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acecb2a3-f75d-49a1-aafb-d28fcb05aaf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efd727-9cb6-4c02-9ace-b3a3b4c9f10e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67724503-e9b6-425d-aee8-be4f83c3a975}" ma:internalName="TaxCatchAll" ma:showField="CatchAllData" ma:web="bf6d69f7-cc80-4cbb-931f-fac334b89a6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F89B6BB-4C48-4B2B-B0F6-2C47C1499EE4}">
  <ds:schemaRefs>
    <ds:schemaRef ds:uri="http://schemas.microsoft.com/office/2006/metadata/properties"/>
    <ds:schemaRef ds:uri="http://schemas.microsoft.com/office/infopath/2007/PartnerControls"/>
    <ds:schemaRef ds:uri="51361e2a-0d7e-4287-ac37-6eff038fbeec"/>
    <ds:schemaRef ds:uri="aaefd727-9cb6-4c02-9ace-b3a3b4c9f10e"/>
  </ds:schemaRefs>
</ds:datastoreItem>
</file>

<file path=customXml/itemProps2.xml><?xml version="1.0" encoding="utf-8"?>
<ds:datastoreItem xmlns:ds="http://schemas.openxmlformats.org/officeDocument/2006/customXml" ds:itemID="{6A1BA009-B4B9-4A10-8446-1B9A06CEB4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57f45fa-106f-4484-bebb-380a93dcf639"/>
    <ds:schemaRef ds:uri="51361e2a-0d7e-4287-ac37-6eff038fbeec"/>
    <ds:schemaRef ds:uri="aaefd727-9cb6-4c02-9ace-b3a3b4c9f10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ABB51D4-D373-43CF-B4CB-5D70FB15173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28</Words>
  <Application>Microsoft Office PowerPoint</Application>
  <PresentationFormat>Breitbild</PresentationFormat>
  <Paragraphs>65</Paragraphs>
  <Slides>5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3" baseType="lpstr">
      <vt:lpstr>Arial</vt:lpstr>
      <vt:lpstr>Calibri</vt:lpstr>
      <vt:lpstr>Trebuchet MS</vt:lpstr>
      <vt:lpstr>Ubuntu</vt:lpstr>
      <vt:lpstr>Ubuntu Medium</vt:lpstr>
      <vt:lpstr>Office Theme</vt:lpstr>
      <vt:lpstr>Custom Design</vt:lpstr>
      <vt:lpstr>think-cell Slide</vt:lpstr>
      <vt:lpstr>ISO &amp; GeoDCAT-AP metadata implementation pilot</vt:lpstr>
      <vt:lpstr>Pilot progress  con terra for data.europa.eu</vt:lpstr>
      <vt:lpstr>Harvesting for data.europa.eu</vt:lpstr>
      <vt:lpstr>Pilot progress  con terra for data.europa.eu</vt:lpstr>
      <vt:lpstr>Pilot progress  con terra for data.europa.e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PIRE Registry</dc:title>
  <dc:creator>JOHN Yvonne (COMM)</dc:creator>
  <cp:lastModifiedBy>Antje Kügeler - con terra GmbH</cp:lastModifiedBy>
  <cp:revision>227</cp:revision>
  <dcterms:created xsi:type="dcterms:W3CDTF">2019-08-09T12:06:42Z</dcterms:created>
  <dcterms:modified xsi:type="dcterms:W3CDTF">2024-11-20T09:2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sync_ServerID">
    <vt:lpwstr>0d3b22a6-6203-4efc-8e8e-b5279256493b</vt:lpwstr>
  </property>
  <property fmtid="{D5CDD505-2E9C-101B-9397-08002B2CF9AE}" pid="3" name="Offisync_UpdateToken">
    <vt:lpwstr>5</vt:lpwstr>
  </property>
  <property fmtid="{D5CDD505-2E9C-101B-9397-08002B2CF9AE}" pid="4" name="Jive_VersionGuid">
    <vt:lpwstr>895d1684-e390-44f7-87f3-a893d9b6b3e1</vt:lpwstr>
  </property>
  <property fmtid="{D5CDD505-2E9C-101B-9397-08002B2CF9AE}" pid="5" name="Offisync_UniqueId">
    <vt:lpwstr>216256</vt:lpwstr>
  </property>
  <property fmtid="{D5CDD505-2E9C-101B-9397-08002B2CF9AE}" pid="6" name="Offisync_ProviderInitializationData">
    <vt:lpwstr>https://webgate.ec.europa.eu/connected</vt:lpwstr>
  </property>
  <property fmtid="{D5CDD505-2E9C-101B-9397-08002B2CF9AE}" pid="7" name="Jive_LatestUserAccountName">
    <vt:lpwstr>wojdapi</vt:lpwstr>
  </property>
  <property fmtid="{D5CDD505-2E9C-101B-9397-08002B2CF9AE}" pid="8" name="MSIP_Label_32bb99c8-a96e-44f6-9d32-66db5eadb91d_Enabled">
    <vt:lpwstr>true</vt:lpwstr>
  </property>
  <property fmtid="{D5CDD505-2E9C-101B-9397-08002B2CF9AE}" pid="9" name="MSIP_Label_32bb99c8-a96e-44f6-9d32-66db5eadb91d_SetDate">
    <vt:lpwstr>2024-11-18T12:54:40Z</vt:lpwstr>
  </property>
  <property fmtid="{D5CDD505-2E9C-101B-9397-08002B2CF9AE}" pid="10" name="MSIP_Label_32bb99c8-a96e-44f6-9d32-66db5eadb91d_Method">
    <vt:lpwstr>Standard</vt:lpwstr>
  </property>
  <property fmtid="{D5CDD505-2E9C-101B-9397-08002B2CF9AE}" pid="11" name="MSIP_Label_32bb99c8-a96e-44f6-9d32-66db5eadb91d_Name">
    <vt:lpwstr>intern</vt:lpwstr>
  </property>
  <property fmtid="{D5CDD505-2E9C-101B-9397-08002B2CF9AE}" pid="12" name="MSIP_Label_32bb99c8-a96e-44f6-9d32-66db5eadb91d_SiteId">
    <vt:lpwstr>6e0bfede-3fcb-4518-a165-65dc14fe5620</vt:lpwstr>
  </property>
  <property fmtid="{D5CDD505-2E9C-101B-9397-08002B2CF9AE}" pid="13" name="MSIP_Label_32bb99c8-a96e-44f6-9d32-66db5eadb91d_ActionId">
    <vt:lpwstr>4463a682-7ea8-4ac1-bbbe-4f5b41b0c099</vt:lpwstr>
  </property>
  <property fmtid="{D5CDD505-2E9C-101B-9397-08002B2CF9AE}" pid="14" name="MSIP_Label_32bb99c8-a96e-44f6-9d32-66db5eadb91d_ContentBits">
    <vt:lpwstr>0</vt:lpwstr>
  </property>
  <property fmtid="{D5CDD505-2E9C-101B-9397-08002B2CF9AE}" pid="15" name="ContentTypeId">
    <vt:lpwstr>0x010100D6D25F8FCE0FE84A9BF3F01E5E3894C3</vt:lpwstr>
  </property>
  <property fmtid="{D5CDD505-2E9C-101B-9397-08002B2CF9AE}" pid="16" name="MediaServiceImageTags">
    <vt:lpwstr/>
  </property>
</Properties>
</file>